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7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1.xml" ContentType="application/vnd.openxmlformats-officedocument.presentationml.notesSlide+xml"/>
  <Override PartName="/ppt/tags/tag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60" r:id="rId2"/>
    <p:sldId id="380" r:id="rId3"/>
    <p:sldId id="381" r:id="rId4"/>
    <p:sldId id="382" r:id="rId5"/>
    <p:sldId id="383" r:id="rId6"/>
    <p:sldId id="365" r:id="rId7"/>
    <p:sldId id="364" r:id="rId8"/>
    <p:sldId id="371" r:id="rId9"/>
    <p:sldId id="367" r:id="rId10"/>
    <p:sldId id="368" r:id="rId11"/>
    <p:sldId id="376" r:id="rId12"/>
    <p:sldId id="385" r:id="rId13"/>
    <p:sldId id="315" r:id="rId14"/>
    <p:sldId id="375" r:id="rId15"/>
    <p:sldId id="342" r:id="rId16"/>
  </p:sldIdLst>
  <p:sldSz cx="12192000" cy="6858000"/>
  <p:notesSz cx="6669088" cy="9926638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asisvorlagen" id="{24B02656-8481-4F8D-99F4-A23FAF0323BA}">
          <p14:sldIdLst>
            <p14:sldId id="360"/>
            <p14:sldId id="380"/>
            <p14:sldId id="381"/>
            <p14:sldId id="382"/>
            <p14:sldId id="383"/>
            <p14:sldId id="365"/>
            <p14:sldId id="364"/>
            <p14:sldId id="371"/>
            <p14:sldId id="367"/>
            <p14:sldId id="368"/>
            <p14:sldId id="376"/>
            <p14:sldId id="385"/>
            <p14:sldId id="315"/>
            <p14:sldId id="375"/>
            <p14:sldId id="342"/>
          </p14:sldIdLst>
        </p14:section>
        <p14:section name="Beispielseiten" id="{72BAE655-966F-421C-BD71-CDFE930445D4}">
          <p14:sldIdLst/>
        </p14:section>
      </p14:sectionLst>
    </p:ext>
    <p:ext uri="{EFAFB233-063F-42B5-8137-9DF3F51BA10A}">
      <p15:sldGuideLst xmlns:p15="http://schemas.microsoft.com/office/powerpoint/2012/main" xmlns="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279">
          <p15:clr>
            <a:srgbClr val="A4A3A4"/>
          </p15:clr>
        </p15:guide>
        <p15:guide id="5" orient="horz" pos="330">
          <p15:clr>
            <a:srgbClr val="A4A3A4"/>
          </p15:clr>
        </p15:guide>
        <p15:guide id="6" orient="horz" pos="78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tterbeck, Birte" initials="L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366"/>
    <a:srgbClr val="CDE0E5"/>
    <a:srgbClr val="7F7F7F"/>
    <a:srgbClr val="0078AD"/>
    <a:srgbClr val="66CCFF"/>
    <a:srgbClr val="FFC91D"/>
    <a:srgbClr val="FFCC99"/>
    <a:srgbClr val="99CCFF"/>
    <a:srgbClr val="F0F0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54" autoAdjust="0"/>
    <p:restoredTop sz="94103" autoAdjust="0"/>
  </p:normalViewPr>
  <p:slideViewPr>
    <p:cSldViewPr snapToGrid="0" snapToObjects="1" showGuides="1">
      <p:cViewPr>
        <p:scale>
          <a:sx n="80" d="100"/>
          <a:sy n="80" d="100"/>
        </p:scale>
        <p:origin x="-618" y="-144"/>
      </p:cViewPr>
      <p:guideLst>
        <p:guide orient="horz" pos="2160"/>
        <p:guide orient="horz" pos="1279"/>
        <p:guide orient="horz" pos="330"/>
        <p:guide orient="horz" pos="78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9E80-E4AF-45D9-831C-B5E312E730A0}" type="datetimeFigureOut">
              <a:rPr lang="de-DE" smtClean="0"/>
              <a:t>02.04.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889250" cy="4968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8164"/>
            <a:ext cx="2889250" cy="4968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84DB88-9B59-429C-9CCA-11A2C3592732}" type="slidenum">
              <a:rPr lang="de-DE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662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E9548E-4505-4989-AFF5-40AFE0EE7F1E}" type="datetimeFigureOut">
              <a:rPr lang="de-DE" smtClean="0"/>
              <a:t>02.04.2020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400" y="744538"/>
            <a:ext cx="6618288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8FB6F-1551-424E-A627-0379655981C1}" type="slidenum">
              <a:rPr lang="de-DE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220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539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3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5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39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407989" y="385763"/>
            <a:ext cx="11376024" cy="6103937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ct val="110000"/>
              </a:lnSpc>
            </a:pPr>
            <a:endParaRPr lang="de-DE" sz="23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82709" y="3405984"/>
            <a:ext cx="8911628" cy="1416734"/>
          </a:xfrm>
        </p:spPr>
        <p:txBody>
          <a:bodyPr anchor="b"/>
          <a:lstStyle>
            <a:lvl1pPr algn="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0028B41E-8586-4C9B-87A7-BF96DC5E60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82709" y="5359229"/>
            <a:ext cx="8911628" cy="70788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3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(Arial 23pt)</a:t>
            </a:r>
            <a:br>
              <a:rPr lang="de-DE"/>
            </a:br>
            <a:r>
              <a:rPr lang="de-DE"/>
              <a:t>00.00.2019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A42619E7-D35C-48A3-A070-E600F22EF8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7424" y="559311"/>
            <a:ext cx="828329" cy="74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093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668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11398421" cy="11378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249613"/>
            <a:ext cx="12192001" cy="360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2821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047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2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831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xmlns="" id="{A7D8FBFB-130E-4413-B792-D261993B1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5565947" cy="11378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87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995697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958">
          <p15:clr>
            <a:srgbClr val="FBAE40"/>
          </p15:clr>
        </p15:guide>
        <p15:guide id="3" orient="horz" pos="407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37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2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67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87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115" y="1554103"/>
            <a:ext cx="5565947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528167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958">
          <p15:clr>
            <a:srgbClr val="FBAE40"/>
          </p15:clr>
        </p15:guide>
        <p15:guide id="3" orient="horz" pos="407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37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60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xmlns="" id="{A7D8FBFB-130E-4413-B792-D261993B1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115" y="1554103"/>
            <a:ext cx="5565947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429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52226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003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4" pos="3840">
          <p15:clr>
            <a:srgbClr val="FBAE40"/>
          </p15:clr>
        </p15:guide>
        <p15:guide id="5" pos="3749">
          <p15:clr>
            <a:srgbClr val="FBAE40"/>
          </p15:clr>
        </p15:guide>
        <p15:guide id="6" orient="horz" pos="407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4779C434-EE6B-40B7-A768-130A88BB5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34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D647019-24F5-4486-8907-413205017DF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8608E65-AA66-46F8-A2DF-7CAA4D8CF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09442" y="1924113"/>
            <a:ext cx="5024674" cy="2739981"/>
          </a:xfrm>
        </p:spPr>
        <p:txBody>
          <a:bodyPr/>
          <a:lstStyle>
            <a:lvl1pPr marL="0" indent="0">
              <a:lnSpc>
                <a:spcPct val="94000"/>
              </a:lnSpc>
              <a:buNone/>
              <a:defRPr sz="3600" cap="all" spc="-130" baseline="0">
                <a:solidFill>
                  <a:schemeClr val="accent1"/>
                </a:solidFill>
                <a:latin typeface="+mj-lt"/>
              </a:defRPr>
            </a:lvl1pPr>
            <a:lvl2pPr marL="263525" indent="-263525">
              <a:spcBef>
                <a:spcPts val="1100"/>
              </a:spcBef>
              <a:defRPr/>
            </a:lvl2pPr>
            <a:lvl3pPr marL="508000" indent="-263525">
              <a:defRPr/>
            </a:lvl3pPr>
            <a:lvl4pPr marL="746125" indent="-260350">
              <a:tabLst/>
              <a:defRPr/>
            </a:lvl4pPr>
            <a:lvl5pPr marL="993775" indent="-268288">
              <a:defRPr/>
            </a:lvl5pPr>
          </a:lstStyle>
          <a:p>
            <a:pPr lvl="0"/>
            <a:r>
              <a:rPr lang="de-DE" dirty="0"/>
              <a:t>Headline Arial Black (36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xmlns="" id="{7AE7E771-5BBB-41C3-8EDA-D739BCB65329}"/>
              </a:ext>
            </a:extLst>
          </p:cNvPr>
          <p:cNvSpPr/>
          <p:nvPr userDrawn="1"/>
        </p:nvSpPr>
        <p:spPr>
          <a:xfrm>
            <a:off x="407987" y="1592263"/>
            <a:ext cx="11376027" cy="4878387"/>
          </a:xfrm>
          <a:custGeom>
            <a:avLst/>
            <a:gdLst>
              <a:gd name="connsiteX0" fmla="*/ 136803 w 11376027"/>
              <a:gd name="connsiteY0" fmla="*/ 136800 h 4878387"/>
              <a:gd name="connsiteX1" fmla="*/ 136803 w 11376027"/>
              <a:gd name="connsiteY1" fmla="*/ 4741587 h 4878387"/>
              <a:gd name="connsiteX2" fmla="*/ 11239227 w 11376027"/>
              <a:gd name="connsiteY2" fmla="*/ 4741587 h 4878387"/>
              <a:gd name="connsiteX3" fmla="*/ 11239227 w 11376027"/>
              <a:gd name="connsiteY3" fmla="*/ 136800 h 4878387"/>
              <a:gd name="connsiteX4" fmla="*/ 1 w 11376027"/>
              <a:gd name="connsiteY4" fmla="*/ 0 h 4878387"/>
              <a:gd name="connsiteX5" fmla="*/ 11376026 w 11376027"/>
              <a:gd name="connsiteY5" fmla="*/ 0 h 4878387"/>
              <a:gd name="connsiteX6" fmla="*/ 11376026 w 11376027"/>
              <a:gd name="connsiteY6" fmla="*/ 2 h 4878387"/>
              <a:gd name="connsiteX7" fmla="*/ 11376027 w 11376027"/>
              <a:gd name="connsiteY7" fmla="*/ 2 h 4878387"/>
              <a:gd name="connsiteX8" fmla="*/ 11376027 w 11376027"/>
              <a:gd name="connsiteY8" fmla="*/ 4741589 h 4878387"/>
              <a:gd name="connsiteX9" fmla="*/ 11376026 w 11376027"/>
              <a:gd name="connsiteY9" fmla="*/ 4741589 h 4878387"/>
              <a:gd name="connsiteX10" fmla="*/ 11376026 w 11376027"/>
              <a:gd name="connsiteY10" fmla="*/ 4878387 h 4878387"/>
              <a:gd name="connsiteX11" fmla="*/ 0 w 11376027"/>
              <a:gd name="connsiteY11" fmla="*/ 4878387 h 4878387"/>
              <a:gd name="connsiteX12" fmla="*/ 0 w 11376027"/>
              <a:gd name="connsiteY12" fmla="*/ 4741587 h 4878387"/>
              <a:gd name="connsiteX13" fmla="*/ 3 w 11376027"/>
              <a:gd name="connsiteY13" fmla="*/ 4741587 h 4878387"/>
              <a:gd name="connsiteX14" fmla="*/ 3 w 11376027"/>
              <a:gd name="connsiteY14" fmla="*/ 136800 h 4878387"/>
              <a:gd name="connsiteX15" fmla="*/ 1 w 11376027"/>
              <a:gd name="connsiteY15" fmla="*/ 136800 h 4878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376027" h="4878387">
                <a:moveTo>
                  <a:pt x="136803" y="136800"/>
                </a:moveTo>
                <a:lnTo>
                  <a:pt x="136803" y="4741587"/>
                </a:lnTo>
                <a:lnTo>
                  <a:pt x="11239227" y="4741587"/>
                </a:lnTo>
                <a:lnTo>
                  <a:pt x="11239227" y="136800"/>
                </a:lnTo>
                <a:close/>
                <a:moveTo>
                  <a:pt x="1" y="0"/>
                </a:moveTo>
                <a:lnTo>
                  <a:pt x="11376026" y="0"/>
                </a:lnTo>
                <a:lnTo>
                  <a:pt x="11376026" y="2"/>
                </a:lnTo>
                <a:lnTo>
                  <a:pt x="11376027" y="2"/>
                </a:lnTo>
                <a:lnTo>
                  <a:pt x="11376027" y="4741589"/>
                </a:lnTo>
                <a:lnTo>
                  <a:pt x="11376026" y="4741589"/>
                </a:lnTo>
                <a:lnTo>
                  <a:pt x="11376026" y="4878387"/>
                </a:lnTo>
                <a:lnTo>
                  <a:pt x="0" y="4878387"/>
                </a:lnTo>
                <a:lnTo>
                  <a:pt x="0" y="4741587"/>
                </a:lnTo>
                <a:lnTo>
                  <a:pt x="3" y="4741587"/>
                </a:lnTo>
                <a:lnTo>
                  <a:pt x="3" y="136800"/>
                </a:lnTo>
                <a:lnTo>
                  <a:pt x="1" y="1368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/>
          </a:p>
        </p:txBody>
      </p:sp>
      <p:sp>
        <p:nvSpPr>
          <p:cNvPr id="11" name="Bildplatzhalter 13">
            <a:extLst>
              <a:ext uri="{FF2B5EF4-FFF2-40B4-BE49-F238E27FC236}">
                <a16:creationId xmlns:a16="http://schemas.microsoft.com/office/drawing/2014/main" xmlns="" id="{33FD18A8-C5AE-4515-BC0F-16FE06F99DD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4790" y="1729063"/>
            <a:ext cx="5551210" cy="46047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40362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407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u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99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117" y="1199438"/>
            <a:ext cx="10290483" cy="2122056"/>
          </a:xfrm>
        </p:spPr>
        <p:txBody>
          <a:bodyPr anchor="b"/>
          <a:lstStyle>
            <a:lvl1pPr algn="ct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Headline mit freier Gestaltung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8CFAE4C2-3242-49B4-9C77-D8DE529D5C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035115" y="521464"/>
            <a:ext cx="647688" cy="578703"/>
          </a:xfrm>
          <a:prstGeom prst="rect">
            <a:avLst/>
          </a:prstGeom>
        </p:spPr>
      </p:pic>
      <p:sp>
        <p:nvSpPr>
          <p:cNvPr id="15" name="Bildplatzhalter 13">
            <a:extLst>
              <a:ext uri="{FF2B5EF4-FFF2-40B4-BE49-F238E27FC236}">
                <a16:creationId xmlns:a16="http://schemas.microsoft.com/office/drawing/2014/main" xmlns="" id="{BAB799A4-7098-4A83-A98F-791DA14AF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3429000"/>
            <a:ext cx="12192000" cy="3429000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0494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u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77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3">
            <a:extLst>
              <a:ext uri="{FF2B5EF4-FFF2-40B4-BE49-F238E27FC236}">
                <a16:creationId xmlns:a16="http://schemas.microsoft.com/office/drawing/2014/main" xmlns="" id="{BAB799A4-7098-4A83-A98F-791DA14AF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12192000" cy="3429000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759" y="3769221"/>
            <a:ext cx="10290483" cy="2122056"/>
          </a:xfrm>
        </p:spPr>
        <p:txBody>
          <a:bodyPr anchor="t"/>
          <a:lstStyle>
            <a:lvl1pPr algn="ct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Headline mit freier Gestaltung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10" name="Bildplatzhalter 22">
            <a:extLst>
              <a:ext uri="{FF2B5EF4-FFF2-40B4-BE49-F238E27FC236}">
                <a16:creationId xmlns:a16="http://schemas.microsoft.com/office/drawing/2014/main" xmlns="" id="{2781FE39-2B5A-40AD-B61F-04F4B12AA8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035115" y="521464"/>
            <a:ext cx="647688" cy="578703"/>
          </a:xfr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86251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627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407989" y="385763"/>
            <a:ext cx="11376024" cy="6103937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afik 5">
            <a:extLst>
              <a:ext uri="{FF2B5EF4-FFF2-40B4-BE49-F238E27FC236}">
                <a16:creationId xmlns:a16="http://schemas.microsoft.com/office/drawing/2014/main" xmlns="" id="{20B6767A-14B5-4B0B-8946-FEDD7BE34960}"/>
              </a:ext>
            </a:extLst>
          </p:cNvPr>
          <p:cNvGrpSpPr/>
          <p:nvPr/>
        </p:nvGrpSpPr>
        <p:grpSpPr>
          <a:xfrm>
            <a:off x="4121150" y="3022599"/>
            <a:ext cx="3940176" cy="811213"/>
            <a:chOff x="4114800" y="3022599"/>
            <a:chExt cx="3940176" cy="811213"/>
          </a:xfrm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xmlns="" id="{EE6BAD0C-5D38-4FC4-B7D5-540AB817615D}"/>
                </a:ext>
              </a:extLst>
            </p:cNvPr>
            <p:cNvSpPr/>
            <p:nvPr/>
          </p:nvSpPr>
          <p:spPr>
            <a:xfrm>
              <a:off x="5747308" y="3441532"/>
              <a:ext cx="2294573" cy="394018"/>
            </a:xfrm>
            <a:custGeom>
              <a:avLst/>
              <a:gdLst>
                <a:gd name="connsiteX0" fmla="*/ 95607 w 2294573"/>
                <a:gd name="connsiteY0" fmla="*/ 128056 h 394017"/>
                <a:gd name="connsiteX1" fmla="*/ 109514 w 2294573"/>
                <a:gd name="connsiteY1" fmla="*/ 73589 h 394017"/>
                <a:gd name="connsiteX2" fmla="*/ 146482 w 2294573"/>
                <a:gd name="connsiteY2" fmla="*/ 23873 h 394017"/>
                <a:gd name="connsiteX3" fmla="*/ 171513 w 2294573"/>
                <a:gd name="connsiteY3" fmla="*/ 31869 h 394017"/>
                <a:gd name="connsiteX4" fmla="*/ 183102 w 2294573"/>
                <a:gd name="connsiteY4" fmla="*/ 12748 h 394017"/>
                <a:gd name="connsiteX5" fmla="*/ 166878 w 2294573"/>
                <a:gd name="connsiteY5" fmla="*/ 0 h 394017"/>
                <a:gd name="connsiteX6" fmla="*/ 124231 w 2294573"/>
                <a:gd name="connsiteY6" fmla="*/ 19121 h 394017"/>
                <a:gd name="connsiteX7" fmla="*/ 64549 w 2294573"/>
                <a:gd name="connsiteY7" fmla="*/ 128056 h 394017"/>
                <a:gd name="connsiteX8" fmla="*/ 29783 w 2294573"/>
                <a:gd name="connsiteY8" fmla="*/ 128056 h 394017"/>
                <a:gd name="connsiteX9" fmla="*/ 25379 w 2294573"/>
                <a:gd name="connsiteY9" fmla="*/ 144396 h 394017"/>
                <a:gd name="connsiteX10" fmla="*/ 61189 w 2294573"/>
                <a:gd name="connsiteY10" fmla="*/ 144396 h 394017"/>
                <a:gd name="connsiteX11" fmla="*/ 0 w 2294573"/>
                <a:gd name="connsiteY11" fmla="*/ 392280 h 394017"/>
                <a:gd name="connsiteX12" fmla="*/ 1159 w 2294573"/>
                <a:gd name="connsiteY12" fmla="*/ 394713 h 394017"/>
                <a:gd name="connsiteX13" fmla="*/ 25379 w 2294573"/>
                <a:gd name="connsiteY13" fmla="*/ 387528 h 394017"/>
                <a:gd name="connsiteX14" fmla="*/ 91899 w 2294573"/>
                <a:gd name="connsiteY14" fmla="*/ 144164 h 394017"/>
                <a:gd name="connsiteX15" fmla="*/ 135241 w 2294573"/>
                <a:gd name="connsiteY15" fmla="*/ 144164 h 394017"/>
                <a:gd name="connsiteX16" fmla="*/ 139992 w 2294573"/>
                <a:gd name="connsiteY16" fmla="*/ 127824 h 394017"/>
                <a:gd name="connsiteX17" fmla="*/ 196661 w 2294573"/>
                <a:gd name="connsiteY17" fmla="*/ 243944 h 394017"/>
                <a:gd name="connsiteX18" fmla="*/ 271061 w 2294573"/>
                <a:gd name="connsiteY18" fmla="*/ 132923 h 394017"/>
                <a:gd name="connsiteX19" fmla="*/ 316025 w 2294573"/>
                <a:gd name="connsiteY19" fmla="*/ 189013 h 394017"/>
                <a:gd name="connsiteX20" fmla="*/ 242785 w 2294573"/>
                <a:gd name="connsiteY20" fmla="*/ 300033 h 394017"/>
                <a:gd name="connsiteX21" fmla="*/ 196430 w 2294573"/>
                <a:gd name="connsiteY21" fmla="*/ 243944 h 394017"/>
                <a:gd name="connsiteX22" fmla="*/ 164792 w 2294573"/>
                <a:gd name="connsiteY22" fmla="*/ 230385 h 394017"/>
                <a:gd name="connsiteX23" fmla="*/ 243132 w 2294573"/>
                <a:gd name="connsiteY23" fmla="*/ 310463 h 394017"/>
                <a:gd name="connsiteX24" fmla="*/ 347431 w 2294573"/>
                <a:gd name="connsiteY24" fmla="*/ 203383 h 394017"/>
                <a:gd name="connsiteX25" fmla="*/ 271061 w 2294573"/>
                <a:gd name="connsiteY25" fmla="*/ 122262 h 394017"/>
                <a:gd name="connsiteX26" fmla="*/ 164444 w 2294573"/>
                <a:gd name="connsiteY26" fmla="*/ 230037 h 394017"/>
                <a:gd name="connsiteX27" fmla="*/ 396567 w 2294573"/>
                <a:gd name="connsiteY27" fmla="*/ 182639 h 394017"/>
                <a:gd name="connsiteX28" fmla="*/ 429943 w 2294573"/>
                <a:gd name="connsiteY28" fmla="*/ 155985 h 394017"/>
                <a:gd name="connsiteX29" fmla="*/ 437591 w 2294573"/>
                <a:gd name="connsiteY29" fmla="*/ 166415 h 394017"/>
                <a:gd name="connsiteX30" fmla="*/ 432724 w 2294573"/>
                <a:gd name="connsiteY30" fmla="*/ 189592 h 394017"/>
                <a:gd name="connsiteX31" fmla="*/ 401319 w 2294573"/>
                <a:gd name="connsiteY31" fmla="*/ 299453 h 394017"/>
                <a:gd name="connsiteX32" fmla="*/ 400507 w 2294573"/>
                <a:gd name="connsiteY32" fmla="*/ 303046 h 394017"/>
                <a:gd name="connsiteX33" fmla="*/ 413255 w 2294573"/>
                <a:gd name="connsiteY33" fmla="*/ 310231 h 394017"/>
                <a:gd name="connsiteX34" fmla="*/ 427625 w 2294573"/>
                <a:gd name="connsiteY34" fmla="*/ 306986 h 394017"/>
                <a:gd name="connsiteX35" fmla="*/ 434810 w 2294573"/>
                <a:gd name="connsiteY35" fmla="*/ 281491 h 394017"/>
                <a:gd name="connsiteX36" fmla="*/ 503647 w 2294573"/>
                <a:gd name="connsiteY36" fmla="*/ 163749 h 394017"/>
                <a:gd name="connsiteX37" fmla="*/ 518365 w 2294573"/>
                <a:gd name="connsiteY37" fmla="*/ 165372 h 394017"/>
                <a:gd name="connsiteX38" fmla="*/ 535053 w 2294573"/>
                <a:gd name="connsiteY38" fmla="*/ 135936 h 394017"/>
                <a:gd name="connsiteX39" fmla="*/ 522653 w 2294573"/>
                <a:gd name="connsiteY39" fmla="*/ 122377 h 394017"/>
                <a:gd name="connsiteX40" fmla="*/ 449528 w 2294573"/>
                <a:gd name="connsiteY40" fmla="*/ 212654 h 394017"/>
                <a:gd name="connsiteX41" fmla="*/ 448717 w 2294573"/>
                <a:gd name="connsiteY41" fmla="*/ 212654 h 394017"/>
                <a:gd name="connsiteX42" fmla="*/ 463782 w 2294573"/>
                <a:gd name="connsiteY42" fmla="*/ 158186 h 394017"/>
                <a:gd name="connsiteX43" fmla="*/ 467838 w 2294573"/>
                <a:gd name="connsiteY43" fmla="*/ 137443 h 394017"/>
                <a:gd name="connsiteX44" fmla="*/ 451498 w 2294573"/>
                <a:gd name="connsiteY44" fmla="*/ 122377 h 394017"/>
                <a:gd name="connsiteX45" fmla="*/ 391352 w 2294573"/>
                <a:gd name="connsiteY45" fmla="*/ 175686 h 394017"/>
                <a:gd name="connsiteX46" fmla="*/ 396567 w 2294573"/>
                <a:gd name="connsiteY46" fmla="*/ 182407 h 394017"/>
                <a:gd name="connsiteX47" fmla="*/ 697875 w 2294573"/>
                <a:gd name="connsiteY47" fmla="*/ 185420 h 394017"/>
                <a:gd name="connsiteX48" fmla="*/ 695094 w 2294573"/>
                <a:gd name="connsiteY48" fmla="*/ 170355 h 394017"/>
                <a:gd name="connsiteX49" fmla="*/ 712430 w 2294573"/>
                <a:gd name="connsiteY49" fmla="*/ 152010 h 394017"/>
                <a:gd name="connsiteX50" fmla="*/ 714099 w 2294573"/>
                <a:gd name="connsiteY50" fmla="*/ 152044 h 394017"/>
                <a:gd name="connsiteX51" fmla="*/ 760454 w 2294573"/>
                <a:gd name="connsiteY51" fmla="*/ 267932 h 394017"/>
                <a:gd name="connsiteX52" fmla="*/ 764046 w 2294573"/>
                <a:gd name="connsiteY52" fmla="*/ 300960 h 394017"/>
                <a:gd name="connsiteX53" fmla="*/ 765205 w 2294573"/>
                <a:gd name="connsiteY53" fmla="*/ 321704 h 394017"/>
                <a:gd name="connsiteX54" fmla="*/ 743766 w 2294573"/>
                <a:gd name="connsiteY54" fmla="*/ 346736 h 394017"/>
                <a:gd name="connsiteX55" fmla="*/ 709927 w 2294573"/>
                <a:gd name="connsiteY55" fmla="*/ 365857 h 394017"/>
                <a:gd name="connsiteX56" fmla="*/ 693239 w 2294573"/>
                <a:gd name="connsiteY56" fmla="*/ 363076 h 394017"/>
                <a:gd name="connsiteX57" fmla="*/ 678765 w 2294573"/>
                <a:gd name="connsiteY57" fmla="*/ 377805 h 394017"/>
                <a:gd name="connsiteX58" fmla="*/ 678869 w 2294573"/>
                <a:gd name="connsiteY58" fmla="*/ 379416 h 394017"/>
                <a:gd name="connsiteX59" fmla="*/ 695209 w 2294573"/>
                <a:gd name="connsiteY59" fmla="*/ 395293 h 394017"/>
                <a:gd name="connsiteX60" fmla="*/ 771231 w 2294573"/>
                <a:gd name="connsiteY60" fmla="*/ 332829 h 394017"/>
                <a:gd name="connsiteX61" fmla="*/ 863941 w 2294573"/>
                <a:gd name="connsiteY61" fmla="*/ 143817 h 394017"/>
                <a:gd name="connsiteX62" fmla="*/ 848529 w 2294573"/>
                <a:gd name="connsiteY62" fmla="*/ 122725 h 394017"/>
                <a:gd name="connsiteX63" fmla="*/ 829291 w 2294573"/>
                <a:gd name="connsiteY63" fmla="*/ 146018 h 394017"/>
                <a:gd name="connsiteX64" fmla="*/ 834043 w 2294573"/>
                <a:gd name="connsiteY64" fmla="*/ 178583 h 394017"/>
                <a:gd name="connsiteX65" fmla="*/ 790701 w 2294573"/>
                <a:gd name="connsiteY65" fmla="*/ 284504 h 394017"/>
                <a:gd name="connsiteX66" fmla="*/ 727426 w 2294573"/>
                <a:gd name="connsiteY66" fmla="*/ 122262 h 394017"/>
                <a:gd name="connsiteX67" fmla="*/ 684432 w 2294573"/>
                <a:gd name="connsiteY67" fmla="*/ 182291 h 394017"/>
                <a:gd name="connsiteX68" fmla="*/ 694050 w 2294573"/>
                <a:gd name="connsiteY68" fmla="*/ 187854 h 394017"/>
                <a:gd name="connsiteX69" fmla="*/ 697643 w 2294573"/>
                <a:gd name="connsiteY69" fmla="*/ 185072 h 394017"/>
                <a:gd name="connsiteX70" fmla="*/ 933590 w 2294573"/>
                <a:gd name="connsiteY70" fmla="*/ 243480 h 394017"/>
                <a:gd name="connsiteX71" fmla="*/ 1007990 w 2294573"/>
                <a:gd name="connsiteY71" fmla="*/ 132459 h 394017"/>
                <a:gd name="connsiteX72" fmla="*/ 1052954 w 2294573"/>
                <a:gd name="connsiteY72" fmla="*/ 188549 h 394017"/>
                <a:gd name="connsiteX73" fmla="*/ 979713 w 2294573"/>
                <a:gd name="connsiteY73" fmla="*/ 299569 h 394017"/>
                <a:gd name="connsiteX74" fmla="*/ 933358 w 2294573"/>
                <a:gd name="connsiteY74" fmla="*/ 243480 h 394017"/>
                <a:gd name="connsiteX75" fmla="*/ 901721 w 2294573"/>
                <a:gd name="connsiteY75" fmla="*/ 229921 h 394017"/>
                <a:gd name="connsiteX76" fmla="*/ 980177 w 2294573"/>
                <a:gd name="connsiteY76" fmla="*/ 309999 h 394017"/>
                <a:gd name="connsiteX77" fmla="*/ 1084475 w 2294573"/>
                <a:gd name="connsiteY77" fmla="*/ 202919 h 394017"/>
                <a:gd name="connsiteX78" fmla="*/ 1007990 w 2294573"/>
                <a:gd name="connsiteY78" fmla="*/ 121798 h 394017"/>
                <a:gd name="connsiteX79" fmla="*/ 901373 w 2294573"/>
                <a:gd name="connsiteY79" fmla="*/ 229573 h 394017"/>
                <a:gd name="connsiteX80" fmla="*/ 1318916 w 2294573"/>
                <a:gd name="connsiteY80" fmla="*/ 249854 h 394017"/>
                <a:gd name="connsiteX81" fmla="*/ 1284150 w 2294573"/>
                <a:gd name="connsiteY81" fmla="*/ 274538 h 394017"/>
                <a:gd name="connsiteX82" fmla="*/ 1278124 w 2294573"/>
                <a:gd name="connsiteY82" fmla="*/ 268975 h 394017"/>
                <a:gd name="connsiteX83" fmla="*/ 1279398 w 2294573"/>
                <a:gd name="connsiteY83" fmla="*/ 263413 h 394017"/>
                <a:gd name="connsiteX84" fmla="*/ 1322740 w 2294573"/>
                <a:gd name="connsiteY84" fmla="*/ 133734 h 394017"/>
                <a:gd name="connsiteX85" fmla="*/ 1304778 w 2294573"/>
                <a:gd name="connsiteY85" fmla="*/ 122146 h 394017"/>
                <a:gd name="connsiteX86" fmla="*/ 1291335 w 2294573"/>
                <a:gd name="connsiteY86" fmla="*/ 134430 h 394017"/>
                <a:gd name="connsiteX87" fmla="*/ 1175447 w 2294573"/>
                <a:gd name="connsiteY87" fmla="*/ 272104 h 394017"/>
                <a:gd name="connsiteX88" fmla="*/ 1168726 w 2294573"/>
                <a:gd name="connsiteY88" fmla="*/ 268164 h 394017"/>
                <a:gd name="connsiteX89" fmla="*/ 1169537 w 2294573"/>
                <a:gd name="connsiteY89" fmla="*/ 262601 h 394017"/>
                <a:gd name="connsiteX90" fmla="*/ 1205346 w 2294573"/>
                <a:gd name="connsiteY90" fmla="*/ 155521 h 394017"/>
                <a:gd name="connsiteX91" fmla="*/ 1210561 w 2294573"/>
                <a:gd name="connsiteY91" fmla="*/ 134893 h 394017"/>
                <a:gd name="connsiteX92" fmla="*/ 1200328 w 2294573"/>
                <a:gd name="connsiteY92" fmla="*/ 122088 h 394017"/>
                <a:gd name="connsiteX93" fmla="*/ 1197350 w 2294573"/>
                <a:gd name="connsiteY93" fmla="*/ 122146 h 394017"/>
                <a:gd name="connsiteX94" fmla="*/ 1141261 w 2294573"/>
                <a:gd name="connsiteY94" fmla="*/ 159114 h 394017"/>
                <a:gd name="connsiteX95" fmla="*/ 1127702 w 2294573"/>
                <a:gd name="connsiteY95" fmla="*/ 173020 h 394017"/>
                <a:gd name="connsiteX96" fmla="*/ 1134075 w 2294573"/>
                <a:gd name="connsiteY96" fmla="*/ 179858 h 394017"/>
                <a:gd name="connsiteX97" fmla="*/ 1167103 w 2294573"/>
                <a:gd name="connsiteY97" fmla="*/ 154015 h 394017"/>
                <a:gd name="connsiteX98" fmla="*/ 1172318 w 2294573"/>
                <a:gd name="connsiteY98" fmla="*/ 159925 h 394017"/>
                <a:gd name="connsiteX99" fmla="*/ 1170696 w 2294573"/>
                <a:gd name="connsiteY99" fmla="*/ 168732 h 394017"/>
                <a:gd name="connsiteX100" fmla="*/ 1135929 w 2294573"/>
                <a:gd name="connsiteY100" fmla="*/ 271293 h 394017"/>
                <a:gd name="connsiteX101" fmla="*/ 1131873 w 2294573"/>
                <a:gd name="connsiteY101" fmla="*/ 288444 h 394017"/>
                <a:gd name="connsiteX102" fmla="*/ 1148561 w 2294573"/>
                <a:gd name="connsiteY102" fmla="*/ 303973 h 394017"/>
                <a:gd name="connsiteX103" fmla="*/ 1271982 w 2294573"/>
                <a:gd name="connsiteY103" fmla="*/ 190172 h 394017"/>
                <a:gd name="connsiteX104" fmla="*/ 1272793 w 2294573"/>
                <a:gd name="connsiteY104" fmla="*/ 190172 h 394017"/>
                <a:gd name="connsiteX105" fmla="*/ 1248920 w 2294573"/>
                <a:gd name="connsiteY105" fmla="*/ 260631 h 394017"/>
                <a:gd name="connsiteX106" fmla="*/ 1241271 w 2294573"/>
                <a:gd name="connsiteY106" fmla="*/ 290067 h 394017"/>
                <a:gd name="connsiteX107" fmla="*/ 1253416 w 2294573"/>
                <a:gd name="connsiteY107" fmla="*/ 304043 h 394017"/>
                <a:gd name="connsiteX108" fmla="*/ 1255989 w 2294573"/>
                <a:gd name="connsiteY108" fmla="*/ 303973 h 394017"/>
                <a:gd name="connsiteX109" fmla="*/ 1324131 w 2294573"/>
                <a:gd name="connsiteY109" fmla="*/ 255416 h 394017"/>
                <a:gd name="connsiteX110" fmla="*/ 1318568 w 2294573"/>
                <a:gd name="connsiteY110" fmla="*/ 249854 h 394017"/>
                <a:gd name="connsiteX111" fmla="*/ 1369443 w 2294573"/>
                <a:gd name="connsiteY111" fmla="*/ 182175 h 394017"/>
                <a:gd name="connsiteX112" fmla="*/ 1402818 w 2294573"/>
                <a:gd name="connsiteY112" fmla="*/ 155521 h 394017"/>
                <a:gd name="connsiteX113" fmla="*/ 1410351 w 2294573"/>
                <a:gd name="connsiteY113" fmla="*/ 165951 h 394017"/>
                <a:gd name="connsiteX114" fmla="*/ 1405600 w 2294573"/>
                <a:gd name="connsiteY114" fmla="*/ 189129 h 394017"/>
                <a:gd name="connsiteX115" fmla="*/ 1373963 w 2294573"/>
                <a:gd name="connsiteY115" fmla="*/ 299222 h 394017"/>
                <a:gd name="connsiteX116" fmla="*/ 1373151 w 2294573"/>
                <a:gd name="connsiteY116" fmla="*/ 302814 h 394017"/>
                <a:gd name="connsiteX117" fmla="*/ 1385899 w 2294573"/>
                <a:gd name="connsiteY117" fmla="*/ 309999 h 394017"/>
                <a:gd name="connsiteX118" fmla="*/ 1400153 w 2294573"/>
                <a:gd name="connsiteY118" fmla="*/ 306754 h 394017"/>
                <a:gd name="connsiteX119" fmla="*/ 1407338 w 2294573"/>
                <a:gd name="connsiteY119" fmla="*/ 281259 h 394017"/>
                <a:gd name="connsiteX120" fmla="*/ 1476175 w 2294573"/>
                <a:gd name="connsiteY120" fmla="*/ 163518 h 394017"/>
                <a:gd name="connsiteX121" fmla="*/ 1490893 w 2294573"/>
                <a:gd name="connsiteY121" fmla="*/ 165140 h 394017"/>
                <a:gd name="connsiteX122" fmla="*/ 1507581 w 2294573"/>
                <a:gd name="connsiteY122" fmla="*/ 135704 h 394017"/>
                <a:gd name="connsiteX123" fmla="*/ 1495297 w 2294573"/>
                <a:gd name="connsiteY123" fmla="*/ 122146 h 394017"/>
                <a:gd name="connsiteX124" fmla="*/ 1422056 w 2294573"/>
                <a:gd name="connsiteY124" fmla="*/ 212422 h 394017"/>
                <a:gd name="connsiteX125" fmla="*/ 1421245 w 2294573"/>
                <a:gd name="connsiteY125" fmla="*/ 212422 h 394017"/>
                <a:gd name="connsiteX126" fmla="*/ 1436426 w 2294573"/>
                <a:gd name="connsiteY126" fmla="*/ 157955 h 394017"/>
                <a:gd name="connsiteX127" fmla="*/ 1440366 w 2294573"/>
                <a:gd name="connsiteY127" fmla="*/ 137211 h 394017"/>
                <a:gd name="connsiteX128" fmla="*/ 1424026 w 2294573"/>
                <a:gd name="connsiteY128" fmla="*/ 122146 h 394017"/>
                <a:gd name="connsiteX129" fmla="*/ 1363996 w 2294573"/>
                <a:gd name="connsiteY129" fmla="*/ 175454 h 394017"/>
                <a:gd name="connsiteX130" fmla="*/ 1369211 w 2294573"/>
                <a:gd name="connsiteY130" fmla="*/ 182175 h 394017"/>
                <a:gd name="connsiteX131" fmla="*/ 1762533 w 2294573"/>
                <a:gd name="connsiteY131" fmla="*/ 2318 h 394017"/>
                <a:gd name="connsiteX132" fmla="*/ 1759752 w 2294573"/>
                <a:gd name="connsiteY132" fmla="*/ 0 h 394017"/>
                <a:gd name="connsiteX133" fmla="*/ 1730664 w 2294573"/>
                <a:gd name="connsiteY133" fmla="*/ 7996 h 394017"/>
                <a:gd name="connsiteX134" fmla="*/ 1701577 w 2294573"/>
                <a:gd name="connsiteY134" fmla="*/ 12284 h 394017"/>
                <a:gd name="connsiteX135" fmla="*/ 1699607 w 2294573"/>
                <a:gd name="connsiteY135" fmla="*/ 17847 h 394017"/>
                <a:gd name="connsiteX136" fmla="*/ 1723479 w 2294573"/>
                <a:gd name="connsiteY136" fmla="*/ 30594 h 394017"/>
                <a:gd name="connsiteX137" fmla="*/ 1667853 w 2294573"/>
                <a:gd name="connsiteY137" fmla="*/ 270945 h 394017"/>
                <a:gd name="connsiteX138" fmla="*/ 1665072 w 2294573"/>
                <a:gd name="connsiteY138" fmla="*/ 290414 h 394017"/>
                <a:gd name="connsiteX139" fmla="*/ 1679790 w 2294573"/>
                <a:gd name="connsiteY139" fmla="*/ 309999 h 394017"/>
                <a:gd name="connsiteX140" fmla="*/ 1739820 w 2294573"/>
                <a:gd name="connsiteY140" fmla="*/ 255880 h 394017"/>
                <a:gd name="connsiteX141" fmla="*/ 1735068 w 2294573"/>
                <a:gd name="connsiteY141" fmla="*/ 247420 h 394017"/>
                <a:gd name="connsiteX142" fmla="*/ 1704474 w 2294573"/>
                <a:gd name="connsiteY142" fmla="*/ 278130 h 394017"/>
                <a:gd name="connsiteX143" fmla="*/ 1699259 w 2294573"/>
                <a:gd name="connsiteY143" fmla="*/ 269786 h 394017"/>
                <a:gd name="connsiteX144" fmla="*/ 1700418 w 2294573"/>
                <a:gd name="connsiteY144" fmla="*/ 261790 h 394017"/>
                <a:gd name="connsiteX145" fmla="*/ 1762533 w 2294573"/>
                <a:gd name="connsiteY145" fmla="*/ 2318 h 394017"/>
                <a:gd name="connsiteX146" fmla="*/ 1795909 w 2294573"/>
                <a:gd name="connsiteY146" fmla="*/ 179394 h 394017"/>
                <a:gd name="connsiteX147" fmla="*/ 1824186 w 2294573"/>
                <a:gd name="connsiteY147" fmla="*/ 154015 h 394017"/>
                <a:gd name="connsiteX148" fmla="*/ 1828937 w 2294573"/>
                <a:gd name="connsiteY148" fmla="*/ 158036 h 394017"/>
                <a:gd name="connsiteX149" fmla="*/ 1828937 w 2294573"/>
                <a:gd name="connsiteY149" fmla="*/ 158766 h 394017"/>
                <a:gd name="connsiteX150" fmla="*/ 1825345 w 2294573"/>
                <a:gd name="connsiteY150" fmla="*/ 173484 h 394017"/>
                <a:gd name="connsiteX151" fmla="*/ 1791158 w 2294573"/>
                <a:gd name="connsiteY151" fmla="*/ 274538 h 394017"/>
                <a:gd name="connsiteX152" fmla="*/ 1786754 w 2294573"/>
                <a:gd name="connsiteY152" fmla="*/ 294007 h 394017"/>
                <a:gd name="connsiteX153" fmla="*/ 1801935 w 2294573"/>
                <a:gd name="connsiteY153" fmla="*/ 309999 h 394017"/>
                <a:gd name="connsiteX154" fmla="*/ 1865210 w 2294573"/>
                <a:gd name="connsiteY154" fmla="*/ 257386 h 394017"/>
                <a:gd name="connsiteX155" fmla="*/ 1858836 w 2294573"/>
                <a:gd name="connsiteY155" fmla="*/ 252287 h 394017"/>
                <a:gd name="connsiteX156" fmla="*/ 1828589 w 2294573"/>
                <a:gd name="connsiteY156" fmla="*/ 278130 h 394017"/>
                <a:gd name="connsiteX157" fmla="*/ 1823374 w 2294573"/>
                <a:gd name="connsiteY157" fmla="*/ 272104 h 394017"/>
                <a:gd name="connsiteX158" fmla="*/ 1827315 w 2294573"/>
                <a:gd name="connsiteY158" fmla="*/ 255416 h 394017"/>
                <a:gd name="connsiteX159" fmla="*/ 1859995 w 2294573"/>
                <a:gd name="connsiteY159" fmla="*/ 154362 h 394017"/>
                <a:gd name="connsiteX160" fmla="*/ 1865558 w 2294573"/>
                <a:gd name="connsiteY160" fmla="*/ 132112 h 394017"/>
                <a:gd name="connsiteX161" fmla="*/ 1853273 w 2294573"/>
                <a:gd name="connsiteY161" fmla="*/ 122146 h 394017"/>
                <a:gd name="connsiteX162" fmla="*/ 1790346 w 2294573"/>
                <a:gd name="connsiteY162" fmla="*/ 173831 h 394017"/>
                <a:gd name="connsiteX163" fmla="*/ 1795909 w 2294573"/>
                <a:gd name="connsiteY163" fmla="*/ 179394 h 394017"/>
                <a:gd name="connsiteX164" fmla="*/ 1861965 w 2294573"/>
                <a:gd name="connsiteY164" fmla="*/ 29436 h 394017"/>
                <a:gd name="connsiteX165" fmla="*/ 1843655 w 2294573"/>
                <a:gd name="connsiteY165" fmla="*/ 47746 h 394017"/>
                <a:gd name="connsiteX166" fmla="*/ 1861976 w 2294573"/>
                <a:gd name="connsiteY166" fmla="*/ 66056 h 394017"/>
                <a:gd name="connsiteX167" fmla="*/ 1880275 w 2294573"/>
                <a:gd name="connsiteY167" fmla="*/ 48093 h 394017"/>
                <a:gd name="connsiteX168" fmla="*/ 1861965 w 2294573"/>
                <a:gd name="connsiteY168" fmla="*/ 29436 h 394017"/>
                <a:gd name="connsiteX169" fmla="*/ 1991643 w 2294573"/>
                <a:gd name="connsiteY169" fmla="*/ 128056 h 394017"/>
                <a:gd name="connsiteX170" fmla="*/ 2005666 w 2294573"/>
                <a:gd name="connsiteY170" fmla="*/ 73589 h 394017"/>
                <a:gd name="connsiteX171" fmla="*/ 2042634 w 2294573"/>
                <a:gd name="connsiteY171" fmla="*/ 23873 h 394017"/>
                <a:gd name="connsiteX172" fmla="*/ 2067665 w 2294573"/>
                <a:gd name="connsiteY172" fmla="*/ 31869 h 394017"/>
                <a:gd name="connsiteX173" fmla="*/ 2079254 w 2294573"/>
                <a:gd name="connsiteY173" fmla="*/ 12748 h 394017"/>
                <a:gd name="connsiteX174" fmla="*/ 2063030 w 2294573"/>
                <a:gd name="connsiteY174" fmla="*/ 0 h 394017"/>
                <a:gd name="connsiteX175" fmla="*/ 2020383 w 2294573"/>
                <a:gd name="connsiteY175" fmla="*/ 19121 h 394017"/>
                <a:gd name="connsiteX176" fmla="*/ 1960701 w 2294573"/>
                <a:gd name="connsiteY176" fmla="*/ 128056 h 394017"/>
                <a:gd name="connsiteX177" fmla="*/ 1925935 w 2294573"/>
                <a:gd name="connsiteY177" fmla="*/ 128056 h 394017"/>
                <a:gd name="connsiteX178" fmla="*/ 1921531 w 2294573"/>
                <a:gd name="connsiteY178" fmla="*/ 144396 h 394017"/>
                <a:gd name="connsiteX179" fmla="*/ 1957340 w 2294573"/>
                <a:gd name="connsiteY179" fmla="*/ 144396 h 394017"/>
                <a:gd name="connsiteX180" fmla="*/ 1895456 w 2294573"/>
                <a:gd name="connsiteY180" fmla="*/ 392280 h 394017"/>
                <a:gd name="connsiteX181" fmla="*/ 1896615 w 2294573"/>
                <a:gd name="connsiteY181" fmla="*/ 394713 h 394017"/>
                <a:gd name="connsiteX182" fmla="*/ 1920836 w 2294573"/>
                <a:gd name="connsiteY182" fmla="*/ 387528 h 394017"/>
                <a:gd name="connsiteX183" fmla="*/ 1987355 w 2294573"/>
                <a:gd name="connsiteY183" fmla="*/ 144164 h 394017"/>
                <a:gd name="connsiteX184" fmla="*/ 2030697 w 2294573"/>
                <a:gd name="connsiteY184" fmla="*/ 144164 h 394017"/>
                <a:gd name="connsiteX185" fmla="*/ 2035448 w 2294573"/>
                <a:gd name="connsiteY185" fmla="*/ 127824 h 394017"/>
                <a:gd name="connsiteX186" fmla="*/ 2189811 w 2294573"/>
                <a:gd name="connsiteY186" fmla="*/ 251476 h 394017"/>
                <a:gd name="connsiteX187" fmla="*/ 2120278 w 2294573"/>
                <a:gd name="connsiteY187" fmla="*/ 288444 h 394017"/>
                <a:gd name="connsiteX188" fmla="*/ 2087737 w 2294573"/>
                <a:gd name="connsiteY188" fmla="*/ 261964 h 394017"/>
                <a:gd name="connsiteX189" fmla="*/ 2087598 w 2294573"/>
                <a:gd name="connsiteY189" fmla="*/ 257850 h 394017"/>
                <a:gd name="connsiteX190" fmla="*/ 2090843 w 2294573"/>
                <a:gd name="connsiteY190" fmla="*/ 227140 h 394017"/>
                <a:gd name="connsiteX191" fmla="*/ 2209396 w 2294573"/>
                <a:gd name="connsiteY191" fmla="*/ 150422 h 394017"/>
                <a:gd name="connsiteX192" fmla="*/ 2170458 w 2294573"/>
                <a:gd name="connsiteY192" fmla="*/ 122146 h 394017"/>
                <a:gd name="connsiteX193" fmla="*/ 2055845 w 2294573"/>
                <a:gd name="connsiteY193" fmla="*/ 256228 h 394017"/>
                <a:gd name="connsiteX194" fmla="*/ 2104749 w 2294573"/>
                <a:gd name="connsiteY194" fmla="*/ 309999 h 394017"/>
                <a:gd name="connsiteX195" fmla="*/ 2195026 w 2294573"/>
                <a:gd name="connsiteY195" fmla="*/ 258198 h 394017"/>
                <a:gd name="connsiteX196" fmla="*/ 2189463 w 2294573"/>
                <a:gd name="connsiteY196" fmla="*/ 251476 h 394017"/>
                <a:gd name="connsiteX197" fmla="*/ 2093161 w 2294573"/>
                <a:gd name="connsiteY197" fmla="*/ 216710 h 394017"/>
                <a:gd name="connsiteX198" fmla="*/ 2161650 w 2294573"/>
                <a:gd name="connsiteY198" fmla="*/ 134777 h 394017"/>
                <a:gd name="connsiteX199" fmla="*/ 2177932 w 2294573"/>
                <a:gd name="connsiteY199" fmla="*/ 149263 h 394017"/>
                <a:gd name="connsiteX200" fmla="*/ 2177874 w 2294573"/>
                <a:gd name="connsiteY200" fmla="*/ 151813 h 394017"/>
                <a:gd name="connsiteX201" fmla="*/ 2093161 w 2294573"/>
                <a:gd name="connsiteY201" fmla="*/ 216710 h 394017"/>
                <a:gd name="connsiteX202" fmla="*/ 2278581 w 2294573"/>
                <a:gd name="connsiteY202" fmla="*/ 309420 h 394017"/>
                <a:gd name="connsiteX203" fmla="*/ 2304887 w 2294573"/>
                <a:gd name="connsiteY203" fmla="*/ 283461 h 394017"/>
                <a:gd name="connsiteX204" fmla="*/ 2278581 w 2294573"/>
                <a:gd name="connsiteY204" fmla="*/ 257155 h 394017"/>
                <a:gd name="connsiteX205" fmla="*/ 2252274 w 2294573"/>
                <a:gd name="connsiteY205" fmla="*/ 283461 h 394017"/>
                <a:gd name="connsiteX206" fmla="*/ 2278581 w 2294573"/>
                <a:gd name="connsiteY206" fmla="*/ 309420 h 39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2294573" h="394017">
                  <a:moveTo>
                    <a:pt x="95607" y="128056"/>
                  </a:moveTo>
                  <a:lnTo>
                    <a:pt x="109514" y="73589"/>
                  </a:lnTo>
                  <a:cubicBezTo>
                    <a:pt x="115076" y="50411"/>
                    <a:pt x="122261" y="23873"/>
                    <a:pt x="146482" y="23873"/>
                  </a:cubicBezTo>
                  <a:cubicBezTo>
                    <a:pt x="155637" y="23873"/>
                    <a:pt x="163981" y="31869"/>
                    <a:pt x="171513" y="31869"/>
                  </a:cubicBezTo>
                  <a:cubicBezTo>
                    <a:pt x="179046" y="31869"/>
                    <a:pt x="183102" y="18310"/>
                    <a:pt x="183102" y="12748"/>
                  </a:cubicBezTo>
                  <a:cubicBezTo>
                    <a:pt x="183102" y="3129"/>
                    <a:pt x="174758" y="0"/>
                    <a:pt x="166878" y="0"/>
                  </a:cubicBezTo>
                  <a:cubicBezTo>
                    <a:pt x="150909" y="1368"/>
                    <a:pt x="135878" y="8101"/>
                    <a:pt x="124231" y="19121"/>
                  </a:cubicBezTo>
                  <a:cubicBezTo>
                    <a:pt x="87611" y="50875"/>
                    <a:pt x="77297" y="83903"/>
                    <a:pt x="64549" y="128056"/>
                  </a:cubicBezTo>
                  <a:lnTo>
                    <a:pt x="29783" y="128056"/>
                  </a:lnTo>
                  <a:lnTo>
                    <a:pt x="25379" y="144396"/>
                  </a:lnTo>
                  <a:lnTo>
                    <a:pt x="61189" y="144396"/>
                  </a:lnTo>
                  <a:lnTo>
                    <a:pt x="0" y="392280"/>
                  </a:lnTo>
                  <a:lnTo>
                    <a:pt x="1159" y="394713"/>
                  </a:lnTo>
                  <a:lnTo>
                    <a:pt x="25379" y="387528"/>
                  </a:lnTo>
                  <a:lnTo>
                    <a:pt x="91899" y="144164"/>
                  </a:lnTo>
                  <a:lnTo>
                    <a:pt x="135241" y="144164"/>
                  </a:lnTo>
                  <a:lnTo>
                    <a:pt x="139992" y="127824"/>
                  </a:lnTo>
                  <a:close/>
                  <a:moveTo>
                    <a:pt x="196661" y="243944"/>
                  </a:moveTo>
                  <a:cubicBezTo>
                    <a:pt x="196661" y="200138"/>
                    <a:pt x="217753" y="132923"/>
                    <a:pt x="271061" y="132923"/>
                  </a:cubicBezTo>
                  <a:cubicBezTo>
                    <a:pt x="305248" y="132923"/>
                    <a:pt x="316025" y="160852"/>
                    <a:pt x="316025" y="189013"/>
                  </a:cubicBezTo>
                  <a:cubicBezTo>
                    <a:pt x="316025" y="230037"/>
                    <a:pt x="294123" y="300033"/>
                    <a:pt x="242785" y="300033"/>
                  </a:cubicBezTo>
                  <a:cubicBezTo>
                    <a:pt x="208018" y="300033"/>
                    <a:pt x="196430" y="273842"/>
                    <a:pt x="196430" y="243944"/>
                  </a:cubicBezTo>
                  <a:close/>
                  <a:moveTo>
                    <a:pt x="164792" y="230385"/>
                  </a:moveTo>
                  <a:cubicBezTo>
                    <a:pt x="164792" y="278594"/>
                    <a:pt x="195386" y="310463"/>
                    <a:pt x="243132" y="310463"/>
                  </a:cubicBezTo>
                  <a:cubicBezTo>
                    <a:pt x="300867" y="308249"/>
                    <a:pt x="346735" y="261153"/>
                    <a:pt x="347431" y="203383"/>
                  </a:cubicBezTo>
                  <a:cubicBezTo>
                    <a:pt x="347431" y="157028"/>
                    <a:pt x="317184" y="122262"/>
                    <a:pt x="271061" y="122262"/>
                  </a:cubicBezTo>
                  <a:cubicBezTo>
                    <a:pt x="212375" y="123803"/>
                    <a:pt x="165360" y="171340"/>
                    <a:pt x="164444" y="230037"/>
                  </a:cubicBezTo>
                  <a:close/>
                  <a:moveTo>
                    <a:pt x="396567" y="182639"/>
                  </a:moveTo>
                  <a:cubicBezTo>
                    <a:pt x="402941" y="174759"/>
                    <a:pt x="419745" y="155985"/>
                    <a:pt x="429943" y="155985"/>
                  </a:cubicBezTo>
                  <a:cubicBezTo>
                    <a:pt x="435158" y="155985"/>
                    <a:pt x="437591" y="162011"/>
                    <a:pt x="437591" y="166415"/>
                  </a:cubicBezTo>
                  <a:cubicBezTo>
                    <a:pt x="436907" y="174307"/>
                    <a:pt x="435274" y="182094"/>
                    <a:pt x="432724" y="189592"/>
                  </a:cubicBezTo>
                  <a:lnTo>
                    <a:pt x="401319" y="299453"/>
                  </a:lnTo>
                  <a:cubicBezTo>
                    <a:pt x="400878" y="300601"/>
                    <a:pt x="400600" y="301818"/>
                    <a:pt x="400507" y="303046"/>
                  </a:cubicBezTo>
                  <a:cubicBezTo>
                    <a:pt x="400507" y="306638"/>
                    <a:pt x="408156" y="310231"/>
                    <a:pt x="413255" y="310231"/>
                  </a:cubicBezTo>
                  <a:cubicBezTo>
                    <a:pt x="420440" y="310231"/>
                    <a:pt x="426814" y="310231"/>
                    <a:pt x="427625" y="306986"/>
                  </a:cubicBezTo>
                  <a:lnTo>
                    <a:pt x="434810" y="281491"/>
                  </a:lnTo>
                  <a:cubicBezTo>
                    <a:pt x="447905" y="240930"/>
                    <a:pt x="476182" y="163749"/>
                    <a:pt x="503647" y="163749"/>
                  </a:cubicBezTo>
                  <a:cubicBezTo>
                    <a:pt x="508399" y="163749"/>
                    <a:pt x="513498" y="165372"/>
                    <a:pt x="518365" y="165372"/>
                  </a:cubicBezTo>
                  <a:cubicBezTo>
                    <a:pt x="530649" y="165372"/>
                    <a:pt x="535053" y="145091"/>
                    <a:pt x="535053" y="135936"/>
                  </a:cubicBezTo>
                  <a:cubicBezTo>
                    <a:pt x="535053" y="126781"/>
                    <a:pt x="531112" y="122377"/>
                    <a:pt x="522653" y="122377"/>
                  </a:cubicBezTo>
                  <a:cubicBezTo>
                    <a:pt x="497621" y="122377"/>
                    <a:pt x="460189" y="191910"/>
                    <a:pt x="449528" y="212654"/>
                  </a:cubicBezTo>
                  <a:lnTo>
                    <a:pt x="448717" y="212654"/>
                  </a:lnTo>
                  <a:lnTo>
                    <a:pt x="463782" y="158186"/>
                  </a:lnTo>
                  <a:cubicBezTo>
                    <a:pt x="465914" y="151442"/>
                    <a:pt x="467270" y="144489"/>
                    <a:pt x="467838" y="137443"/>
                  </a:cubicBezTo>
                  <a:cubicBezTo>
                    <a:pt x="467838" y="126781"/>
                    <a:pt x="461464" y="122377"/>
                    <a:pt x="451498" y="122377"/>
                  </a:cubicBezTo>
                  <a:cubicBezTo>
                    <a:pt x="432029" y="122377"/>
                    <a:pt x="401319" y="160968"/>
                    <a:pt x="391352" y="175686"/>
                  </a:cubicBezTo>
                  <a:lnTo>
                    <a:pt x="396567" y="182407"/>
                  </a:lnTo>
                  <a:close/>
                  <a:moveTo>
                    <a:pt x="697875" y="185420"/>
                  </a:moveTo>
                  <a:cubicBezTo>
                    <a:pt x="695963" y="180634"/>
                    <a:pt x="695012" y="175512"/>
                    <a:pt x="695094" y="170355"/>
                  </a:cubicBezTo>
                  <a:cubicBezTo>
                    <a:pt x="694815" y="160504"/>
                    <a:pt x="702580" y="152288"/>
                    <a:pt x="712430" y="152010"/>
                  </a:cubicBezTo>
                  <a:cubicBezTo>
                    <a:pt x="712986" y="151998"/>
                    <a:pt x="713543" y="152010"/>
                    <a:pt x="714099" y="152044"/>
                  </a:cubicBezTo>
                  <a:cubicBezTo>
                    <a:pt x="740058" y="152044"/>
                    <a:pt x="754312" y="221577"/>
                    <a:pt x="760454" y="267932"/>
                  </a:cubicBezTo>
                  <a:lnTo>
                    <a:pt x="764046" y="300960"/>
                  </a:lnTo>
                  <a:lnTo>
                    <a:pt x="765205" y="321704"/>
                  </a:lnTo>
                  <a:lnTo>
                    <a:pt x="743766" y="346736"/>
                  </a:lnTo>
                  <a:cubicBezTo>
                    <a:pt x="735828" y="357757"/>
                    <a:pt x="723463" y="364745"/>
                    <a:pt x="709927" y="365857"/>
                  </a:cubicBezTo>
                  <a:cubicBezTo>
                    <a:pt x="703553" y="365857"/>
                    <a:pt x="698338" y="363076"/>
                    <a:pt x="693239" y="363076"/>
                  </a:cubicBezTo>
                  <a:cubicBezTo>
                    <a:pt x="685173" y="363145"/>
                    <a:pt x="678695" y="369739"/>
                    <a:pt x="678765" y="377805"/>
                  </a:cubicBezTo>
                  <a:cubicBezTo>
                    <a:pt x="678765" y="378338"/>
                    <a:pt x="678800" y="378883"/>
                    <a:pt x="678869" y="379416"/>
                  </a:cubicBezTo>
                  <a:cubicBezTo>
                    <a:pt x="679240" y="388212"/>
                    <a:pt x="686413" y="395177"/>
                    <a:pt x="695209" y="395293"/>
                  </a:cubicBezTo>
                  <a:cubicBezTo>
                    <a:pt x="727078" y="395293"/>
                    <a:pt x="754544" y="354732"/>
                    <a:pt x="771231" y="332829"/>
                  </a:cubicBezTo>
                  <a:cubicBezTo>
                    <a:pt x="799508" y="297020"/>
                    <a:pt x="863941" y="187622"/>
                    <a:pt x="863941" y="143817"/>
                  </a:cubicBezTo>
                  <a:cubicBezTo>
                    <a:pt x="863941" y="133503"/>
                    <a:pt x="860001" y="122725"/>
                    <a:pt x="848529" y="122725"/>
                  </a:cubicBezTo>
                  <a:cubicBezTo>
                    <a:pt x="837056" y="122725"/>
                    <a:pt x="829291" y="134430"/>
                    <a:pt x="829291" y="146018"/>
                  </a:cubicBezTo>
                  <a:cubicBezTo>
                    <a:pt x="829291" y="157607"/>
                    <a:pt x="834043" y="163865"/>
                    <a:pt x="834043" y="178583"/>
                  </a:cubicBezTo>
                  <a:cubicBezTo>
                    <a:pt x="834043" y="213349"/>
                    <a:pt x="807388" y="254605"/>
                    <a:pt x="790701" y="284504"/>
                  </a:cubicBezTo>
                  <a:cubicBezTo>
                    <a:pt x="782705" y="246261"/>
                    <a:pt x="783515" y="122262"/>
                    <a:pt x="727426" y="122262"/>
                  </a:cubicBezTo>
                  <a:cubicBezTo>
                    <a:pt x="695209" y="122262"/>
                    <a:pt x="684432" y="156101"/>
                    <a:pt x="684432" y="182291"/>
                  </a:cubicBezTo>
                  <a:lnTo>
                    <a:pt x="694050" y="187854"/>
                  </a:lnTo>
                  <a:lnTo>
                    <a:pt x="697643" y="185072"/>
                  </a:lnTo>
                  <a:close/>
                  <a:moveTo>
                    <a:pt x="933590" y="243480"/>
                  </a:moveTo>
                  <a:cubicBezTo>
                    <a:pt x="933590" y="199674"/>
                    <a:pt x="954682" y="132459"/>
                    <a:pt x="1007990" y="132459"/>
                  </a:cubicBezTo>
                  <a:cubicBezTo>
                    <a:pt x="1042176" y="132459"/>
                    <a:pt x="1052954" y="160388"/>
                    <a:pt x="1052954" y="188549"/>
                  </a:cubicBezTo>
                  <a:cubicBezTo>
                    <a:pt x="1052954" y="229573"/>
                    <a:pt x="1031051" y="299569"/>
                    <a:pt x="979713" y="299569"/>
                  </a:cubicBezTo>
                  <a:cubicBezTo>
                    <a:pt x="944947" y="299569"/>
                    <a:pt x="933358" y="273379"/>
                    <a:pt x="933358" y="243480"/>
                  </a:cubicBezTo>
                  <a:close/>
                  <a:moveTo>
                    <a:pt x="901721" y="229921"/>
                  </a:moveTo>
                  <a:cubicBezTo>
                    <a:pt x="901721" y="278130"/>
                    <a:pt x="932431" y="309999"/>
                    <a:pt x="980177" y="309999"/>
                  </a:cubicBezTo>
                  <a:cubicBezTo>
                    <a:pt x="1037912" y="307786"/>
                    <a:pt x="1083780" y="260689"/>
                    <a:pt x="1084475" y="202919"/>
                  </a:cubicBezTo>
                  <a:cubicBezTo>
                    <a:pt x="1084475" y="156564"/>
                    <a:pt x="1054229" y="121798"/>
                    <a:pt x="1007990" y="121798"/>
                  </a:cubicBezTo>
                  <a:cubicBezTo>
                    <a:pt x="949316" y="123339"/>
                    <a:pt x="902289" y="170876"/>
                    <a:pt x="901373" y="229573"/>
                  </a:cubicBezTo>
                  <a:close/>
                  <a:moveTo>
                    <a:pt x="1318916" y="249854"/>
                  </a:moveTo>
                  <a:cubicBezTo>
                    <a:pt x="1310920" y="256228"/>
                    <a:pt x="1294580" y="274538"/>
                    <a:pt x="1284150" y="274538"/>
                  </a:cubicBezTo>
                  <a:cubicBezTo>
                    <a:pt x="1279746" y="274538"/>
                    <a:pt x="1278124" y="272104"/>
                    <a:pt x="1278124" y="268975"/>
                  </a:cubicBezTo>
                  <a:cubicBezTo>
                    <a:pt x="1278193" y="267051"/>
                    <a:pt x="1278633" y="265174"/>
                    <a:pt x="1279398" y="263413"/>
                  </a:cubicBezTo>
                  <a:lnTo>
                    <a:pt x="1322740" y="133734"/>
                  </a:lnTo>
                  <a:cubicBezTo>
                    <a:pt x="1318337" y="129678"/>
                    <a:pt x="1311151" y="122146"/>
                    <a:pt x="1304778" y="122146"/>
                  </a:cubicBezTo>
                  <a:cubicBezTo>
                    <a:pt x="1298404" y="122146"/>
                    <a:pt x="1294116" y="127361"/>
                    <a:pt x="1291335" y="134430"/>
                  </a:cubicBezTo>
                  <a:cubicBezTo>
                    <a:pt x="1277776" y="169891"/>
                    <a:pt x="1202565" y="272104"/>
                    <a:pt x="1175447" y="272104"/>
                  </a:cubicBezTo>
                  <a:cubicBezTo>
                    <a:pt x="1171971" y="272104"/>
                    <a:pt x="1168726" y="270945"/>
                    <a:pt x="1168726" y="268164"/>
                  </a:cubicBezTo>
                  <a:cubicBezTo>
                    <a:pt x="1168830" y="266286"/>
                    <a:pt x="1169097" y="264432"/>
                    <a:pt x="1169537" y="262601"/>
                  </a:cubicBezTo>
                  <a:lnTo>
                    <a:pt x="1205346" y="155521"/>
                  </a:lnTo>
                  <a:cubicBezTo>
                    <a:pt x="1208313" y="149020"/>
                    <a:pt x="1210086" y="142032"/>
                    <a:pt x="1210561" y="134893"/>
                  </a:cubicBezTo>
                  <a:cubicBezTo>
                    <a:pt x="1211268" y="128531"/>
                    <a:pt x="1206691" y="122806"/>
                    <a:pt x="1200328" y="122088"/>
                  </a:cubicBezTo>
                  <a:cubicBezTo>
                    <a:pt x="1199332" y="121983"/>
                    <a:pt x="1198335" y="121995"/>
                    <a:pt x="1197350" y="122146"/>
                  </a:cubicBezTo>
                  <a:cubicBezTo>
                    <a:pt x="1178692" y="122146"/>
                    <a:pt x="1157600" y="142774"/>
                    <a:pt x="1141261" y="159114"/>
                  </a:cubicBezTo>
                  <a:lnTo>
                    <a:pt x="1127702" y="173020"/>
                  </a:lnTo>
                  <a:lnTo>
                    <a:pt x="1134075" y="179858"/>
                  </a:lnTo>
                  <a:cubicBezTo>
                    <a:pt x="1141724" y="172325"/>
                    <a:pt x="1155631" y="154015"/>
                    <a:pt x="1167103" y="154015"/>
                  </a:cubicBezTo>
                  <a:cubicBezTo>
                    <a:pt x="1171159" y="154015"/>
                    <a:pt x="1172318" y="156796"/>
                    <a:pt x="1172318" y="159925"/>
                  </a:cubicBezTo>
                  <a:cubicBezTo>
                    <a:pt x="1172283" y="162927"/>
                    <a:pt x="1171727" y="165905"/>
                    <a:pt x="1170696" y="168732"/>
                  </a:cubicBezTo>
                  <a:lnTo>
                    <a:pt x="1135929" y="271293"/>
                  </a:lnTo>
                  <a:cubicBezTo>
                    <a:pt x="1133902" y="276832"/>
                    <a:pt x="1132546" y="282592"/>
                    <a:pt x="1131873" y="288444"/>
                  </a:cubicBezTo>
                  <a:cubicBezTo>
                    <a:pt x="1132488" y="297205"/>
                    <a:pt x="1139777" y="303996"/>
                    <a:pt x="1148561" y="303973"/>
                  </a:cubicBezTo>
                  <a:cubicBezTo>
                    <a:pt x="1187616" y="303973"/>
                    <a:pt x="1252860" y="215203"/>
                    <a:pt x="1271982" y="190172"/>
                  </a:cubicBezTo>
                  <a:lnTo>
                    <a:pt x="1272793" y="190172"/>
                  </a:lnTo>
                  <a:lnTo>
                    <a:pt x="1248920" y="260631"/>
                  </a:lnTo>
                  <a:cubicBezTo>
                    <a:pt x="1245049" y="270053"/>
                    <a:pt x="1242476" y="279950"/>
                    <a:pt x="1241271" y="290067"/>
                  </a:cubicBezTo>
                  <a:cubicBezTo>
                    <a:pt x="1240762" y="297287"/>
                    <a:pt x="1246208" y="303544"/>
                    <a:pt x="1253416" y="304043"/>
                  </a:cubicBezTo>
                  <a:cubicBezTo>
                    <a:pt x="1254274" y="304112"/>
                    <a:pt x="1255132" y="304078"/>
                    <a:pt x="1255989" y="303973"/>
                  </a:cubicBezTo>
                  <a:cubicBezTo>
                    <a:pt x="1282759" y="303973"/>
                    <a:pt x="1307791" y="273379"/>
                    <a:pt x="1324131" y="255416"/>
                  </a:cubicBezTo>
                  <a:lnTo>
                    <a:pt x="1318568" y="249854"/>
                  </a:lnTo>
                  <a:close/>
                  <a:moveTo>
                    <a:pt x="1369443" y="182175"/>
                  </a:moveTo>
                  <a:cubicBezTo>
                    <a:pt x="1375817" y="174295"/>
                    <a:pt x="1392041" y="155521"/>
                    <a:pt x="1402818" y="155521"/>
                  </a:cubicBezTo>
                  <a:cubicBezTo>
                    <a:pt x="1408034" y="155521"/>
                    <a:pt x="1410351" y="161547"/>
                    <a:pt x="1410351" y="165951"/>
                  </a:cubicBezTo>
                  <a:cubicBezTo>
                    <a:pt x="1409656" y="173831"/>
                    <a:pt x="1408057" y="181608"/>
                    <a:pt x="1405600" y="189129"/>
                  </a:cubicBezTo>
                  <a:lnTo>
                    <a:pt x="1373963" y="299222"/>
                  </a:lnTo>
                  <a:cubicBezTo>
                    <a:pt x="1373464" y="300357"/>
                    <a:pt x="1373186" y="301574"/>
                    <a:pt x="1373151" y="302814"/>
                  </a:cubicBezTo>
                  <a:cubicBezTo>
                    <a:pt x="1373151" y="306407"/>
                    <a:pt x="1380684" y="309999"/>
                    <a:pt x="1385899" y="309999"/>
                  </a:cubicBezTo>
                  <a:cubicBezTo>
                    <a:pt x="1393084" y="309999"/>
                    <a:pt x="1399458" y="309999"/>
                    <a:pt x="1400153" y="306754"/>
                  </a:cubicBezTo>
                  <a:lnTo>
                    <a:pt x="1407338" y="281259"/>
                  </a:lnTo>
                  <a:cubicBezTo>
                    <a:pt x="1420434" y="240699"/>
                    <a:pt x="1448710" y="163518"/>
                    <a:pt x="1476175" y="163518"/>
                  </a:cubicBezTo>
                  <a:cubicBezTo>
                    <a:pt x="1480927" y="163518"/>
                    <a:pt x="1486142" y="165140"/>
                    <a:pt x="1490893" y="165140"/>
                  </a:cubicBezTo>
                  <a:cubicBezTo>
                    <a:pt x="1503293" y="165140"/>
                    <a:pt x="1507581" y="144859"/>
                    <a:pt x="1507581" y="135704"/>
                  </a:cubicBezTo>
                  <a:cubicBezTo>
                    <a:pt x="1507581" y="126549"/>
                    <a:pt x="1503641" y="122146"/>
                    <a:pt x="1495297" y="122146"/>
                  </a:cubicBezTo>
                  <a:cubicBezTo>
                    <a:pt x="1470265" y="122146"/>
                    <a:pt x="1432833" y="191678"/>
                    <a:pt x="1422056" y="212422"/>
                  </a:cubicBezTo>
                  <a:lnTo>
                    <a:pt x="1421245" y="212422"/>
                  </a:lnTo>
                  <a:lnTo>
                    <a:pt x="1436426" y="157955"/>
                  </a:lnTo>
                  <a:cubicBezTo>
                    <a:pt x="1438466" y="151198"/>
                    <a:pt x="1439787" y="144245"/>
                    <a:pt x="1440366" y="137211"/>
                  </a:cubicBezTo>
                  <a:cubicBezTo>
                    <a:pt x="1440366" y="126549"/>
                    <a:pt x="1433992" y="122146"/>
                    <a:pt x="1424026" y="122146"/>
                  </a:cubicBezTo>
                  <a:cubicBezTo>
                    <a:pt x="1404557" y="122146"/>
                    <a:pt x="1373963" y="160736"/>
                    <a:pt x="1363996" y="175454"/>
                  </a:cubicBezTo>
                  <a:lnTo>
                    <a:pt x="1369211" y="182175"/>
                  </a:lnTo>
                  <a:close/>
                  <a:moveTo>
                    <a:pt x="1762533" y="2318"/>
                  </a:moveTo>
                  <a:lnTo>
                    <a:pt x="1759752" y="0"/>
                  </a:lnTo>
                  <a:cubicBezTo>
                    <a:pt x="1750945" y="2782"/>
                    <a:pt x="1741442" y="5563"/>
                    <a:pt x="1730664" y="7996"/>
                  </a:cubicBezTo>
                  <a:cubicBezTo>
                    <a:pt x="1719887" y="10430"/>
                    <a:pt x="1710384" y="11473"/>
                    <a:pt x="1701577" y="12284"/>
                  </a:cubicBezTo>
                  <a:lnTo>
                    <a:pt x="1699607" y="17847"/>
                  </a:lnTo>
                  <a:lnTo>
                    <a:pt x="1723479" y="30594"/>
                  </a:lnTo>
                  <a:lnTo>
                    <a:pt x="1667853" y="270945"/>
                  </a:lnTo>
                  <a:cubicBezTo>
                    <a:pt x="1666104" y="277296"/>
                    <a:pt x="1665165" y="283832"/>
                    <a:pt x="1665072" y="290414"/>
                  </a:cubicBezTo>
                  <a:cubicBezTo>
                    <a:pt x="1665072" y="300844"/>
                    <a:pt x="1667390" y="309999"/>
                    <a:pt x="1679790" y="309999"/>
                  </a:cubicBezTo>
                  <a:cubicBezTo>
                    <a:pt x="1704474" y="309999"/>
                    <a:pt x="1726724" y="272915"/>
                    <a:pt x="1739820" y="255880"/>
                  </a:cubicBezTo>
                  <a:lnTo>
                    <a:pt x="1735068" y="247420"/>
                  </a:lnTo>
                  <a:cubicBezTo>
                    <a:pt x="1730664" y="253446"/>
                    <a:pt x="1711891" y="278130"/>
                    <a:pt x="1704474" y="278130"/>
                  </a:cubicBezTo>
                  <a:cubicBezTo>
                    <a:pt x="1699607" y="278130"/>
                    <a:pt x="1699259" y="274190"/>
                    <a:pt x="1699259" y="269786"/>
                  </a:cubicBezTo>
                  <a:cubicBezTo>
                    <a:pt x="1699386" y="267086"/>
                    <a:pt x="1699780" y="264409"/>
                    <a:pt x="1700418" y="261790"/>
                  </a:cubicBezTo>
                  <a:lnTo>
                    <a:pt x="1762533" y="2318"/>
                  </a:lnTo>
                  <a:close/>
                  <a:moveTo>
                    <a:pt x="1795909" y="179394"/>
                  </a:moveTo>
                  <a:cubicBezTo>
                    <a:pt x="1800661" y="173020"/>
                    <a:pt x="1815842" y="154015"/>
                    <a:pt x="1824186" y="154015"/>
                  </a:cubicBezTo>
                  <a:cubicBezTo>
                    <a:pt x="1826608" y="153818"/>
                    <a:pt x="1828740" y="155614"/>
                    <a:pt x="1828937" y="158036"/>
                  </a:cubicBezTo>
                  <a:cubicBezTo>
                    <a:pt x="1828960" y="158279"/>
                    <a:pt x="1828960" y="158523"/>
                    <a:pt x="1828937" y="158766"/>
                  </a:cubicBezTo>
                  <a:cubicBezTo>
                    <a:pt x="1828462" y="163819"/>
                    <a:pt x="1827245" y="168779"/>
                    <a:pt x="1825345" y="173484"/>
                  </a:cubicBezTo>
                  <a:lnTo>
                    <a:pt x="1791158" y="274538"/>
                  </a:lnTo>
                  <a:cubicBezTo>
                    <a:pt x="1788875" y="280819"/>
                    <a:pt x="1787391" y="287355"/>
                    <a:pt x="1786754" y="294007"/>
                  </a:cubicBezTo>
                  <a:cubicBezTo>
                    <a:pt x="1786754" y="303162"/>
                    <a:pt x="1790346" y="309999"/>
                    <a:pt x="1801935" y="309999"/>
                  </a:cubicBezTo>
                  <a:cubicBezTo>
                    <a:pt x="1824533" y="309999"/>
                    <a:pt x="1852810" y="274190"/>
                    <a:pt x="1865210" y="257386"/>
                  </a:cubicBezTo>
                  <a:lnTo>
                    <a:pt x="1858836" y="252287"/>
                  </a:lnTo>
                  <a:cubicBezTo>
                    <a:pt x="1854780" y="256575"/>
                    <a:pt x="1834152" y="278130"/>
                    <a:pt x="1828589" y="278130"/>
                  </a:cubicBezTo>
                  <a:cubicBezTo>
                    <a:pt x="1823027" y="278130"/>
                    <a:pt x="1823374" y="276160"/>
                    <a:pt x="1823374" y="272104"/>
                  </a:cubicBezTo>
                  <a:cubicBezTo>
                    <a:pt x="1824000" y="266402"/>
                    <a:pt x="1825321" y="260793"/>
                    <a:pt x="1827315" y="255416"/>
                  </a:cubicBezTo>
                  <a:lnTo>
                    <a:pt x="1859995" y="154362"/>
                  </a:lnTo>
                  <a:cubicBezTo>
                    <a:pt x="1862764" y="147200"/>
                    <a:pt x="1864630" y="139726"/>
                    <a:pt x="1865558" y="132112"/>
                  </a:cubicBezTo>
                  <a:cubicBezTo>
                    <a:pt x="1865558" y="126086"/>
                    <a:pt x="1862776" y="122146"/>
                    <a:pt x="1853273" y="122146"/>
                  </a:cubicBezTo>
                  <a:cubicBezTo>
                    <a:pt x="1830096" y="122146"/>
                    <a:pt x="1801935" y="156333"/>
                    <a:pt x="1790346" y="173831"/>
                  </a:cubicBezTo>
                  <a:lnTo>
                    <a:pt x="1795909" y="179394"/>
                  </a:lnTo>
                  <a:close/>
                  <a:moveTo>
                    <a:pt x="1861965" y="29436"/>
                  </a:moveTo>
                  <a:cubicBezTo>
                    <a:pt x="1851848" y="29436"/>
                    <a:pt x="1843655" y="37640"/>
                    <a:pt x="1843655" y="47746"/>
                  </a:cubicBezTo>
                  <a:cubicBezTo>
                    <a:pt x="1843655" y="57863"/>
                    <a:pt x="1851860" y="66056"/>
                    <a:pt x="1861976" y="66056"/>
                  </a:cubicBezTo>
                  <a:cubicBezTo>
                    <a:pt x="1871943" y="66056"/>
                    <a:pt x="1880090" y="58071"/>
                    <a:pt x="1880275" y="48093"/>
                  </a:cubicBezTo>
                  <a:cubicBezTo>
                    <a:pt x="1880044" y="38023"/>
                    <a:pt x="1872036" y="29864"/>
                    <a:pt x="1861965" y="29436"/>
                  </a:cubicBezTo>
                  <a:close/>
                  <a:moveTo>
                    <a:pt x="1991643" y="128056"/>
                  </a:moveTo>
                  <a:lnTo>
                    <a:pt x="2005666" y="73589"/>
                  </a:lnTo>
                  <a:cubicBezTo>
                    <a:pt x="2011228" y="50411"/>
                    <a:pt x="2018413" y="23873"/>
                    <a:pt x="2042634" y="23873"/>
                  </a:cubicBezTo>
                  <a:cubicBezTo>
                    <a:pt x="2051789" y="23873"/>
                    <a:pt x="2060133" y="31869"/>
                    <a:pt x="2067665" y="31869"/>
                  </a:cubicBezTo>
                  <a:cubicBezTo>
                    <a:pt x="2075198" y="31869"/>
                    <a:pt x="2079254" y="18310"/>
                    <a:pt x="2079254" y="12748"/>
                  </a:cubicBezTo>
                  <a:cubicBezTo>
                    <a:pt x="2079254" y="3129"/>
                    <a:pt x="2070910" y="0"/>
                    <a:pt x="2063030" y="0"/>
                  </a:cubicBezTo>
                  <a:cubicBezTo>
                    <a:pt x="2047061" y="1368"/>
                    <a:pt x="2032030" y="8101"/>
                    <a:pt x="2020383" y="19121"/>
                  </a:cubicBezTo>
                  <a:cubicBezTo>
                    <a:pt x="1983763" y="50875"/>
                    <a:pt x="1973449" y="83903"/>
                    <a:pt x="1960701" y="128056"/>
                  </a:cubicBezTo>
                  <a:lnTo>
                    <a:pt x="1925935" y="128056"/>
                  </a:lnTo>
                  <a:lnTo>
                    <a:pt x="1921531" y="144396"/>
                  </a:lnTo>
                  <a:lnTo>
                    <a:pt x="1957340" y="144396"/>
                  </a:lnTo>
                  <a:lnTo>
                    <a:pt x="1895456" y="392280"/>
                  </a:lnTo>
                  <a:lnTo>
                    <a:pt x="1896615" y="394713"/>
                  </a:lnTo>
                  <a:lnTo>
                    <a:pt x="1920836" y="387528"/>
                  </a:lnTo>
                  <a:lnTo>
                    <a:pt x="1987355" y="144164"/>
                  </a:lnTo>
                  <a:lnTo>
                    <a:pt x="2030697" y="144164"/>
                  </a:lnTo>
                  <a:lnTo>
                    <a:pt x="2035448" y="127824"/>
                  </a:lnTo>
                  <a:close/>
                  <a:moveTo>
                    <a:pt x="2189811" y="251476"/>
                  </a:moveTo>
                  <a:cubicBezTo>
                    <a:pt x="2166633" y="273379"/>
                    <a:pt x="2143456" y="288444"/>
                    <a:pt x="2120278" y="288444"/>
                  </a:cubicBezTo>
                  <a:cubicBezTo>
                    <a:pt x="2103984" y="290125"/>
                    <a:pt x="2089406" y="278269"/>
                    <a:pt x="2087737" y="261964"/>
                  </a:cubicBezTo>
                  <a:cubicBezTo>
                    <a:pt x="2087598" y="260596"/>
                    <a:pt x="2087552" y="259229"/>
                    <a:pt x="2087598" y="257850"/>
                  </a:cubicBezTo>
                  <a:cubicBezTo>
                    <a:pt x="2087471" y="247524"/>
                    <a:pt x="2088560" y="237210"/>
                    <a:pt x="2090843" y="227140"/>
                  </a:cubicBezTo>
                  <a:cubicBezTo>
                    <a:pt x="2133374" y="223200"/>
                    <a:pt x="2209396" y="204542"/>
                    <a:pt x="2209396" y="150422"/>
                  </a:cubicBezTo>
                  <a:cubicBezTo>
                    <a:pt x="2209396" y="128519"/>
                    <a:pt x="2188304" y="122146"/>
                    <a:pt x="2170458" y="122146"/>
                  </a:cubicBezTo>
                  <a:cubicBezTo>
                    <a:pt x="2112514" y="122146"/>
                    <a:pt x="2055845" y="192605"/>
                    <a:pt x="2055845" y="256228"/>
                  </a:cubicBezTo>
                  <a:cubicBezTo>
                    <a:pt x="2055845" y="282882"/>
                    <a:pt x="2068129" y="309999"/>
                    <a:pt x="2104749" y="309999"/>
                  </a:cubicBezTo>
                  <a:cubicBezTo>
                    <a:pt x="2141370" y="309999"/>
                    <a:pt x="2168835" y="286822"/>
                    <a:pt x="2195026" y="258198"/>
                  </a:cubicBezTo>
                  <a:lnTo>
                    <a:pt x="2189463" y="251476"/>
                  </a:lnTo>
                  <a:close/>
                  <a:moveTo>
                    <a:pt x="2093161" y="216710"/>
                  </a:moveTo>
                  <a:cubicBezTo>
                    <a:pt x="2099534" y="190403"/>
                    <a:pt x="2130940" y="134777"/>
                    <a:pt x="2161650" y="134777"/>
                  </a:cubicBezTo>
                  <a:cubicBezTo>
                    <a:pt x="2170145" y="134279"/>
                    <a:pt x="2177434" y="140769"/>
                    <a:pt x="2177932" y="149263"/>
                  </a:cubicBezTo>
                  <a:cubicBezTo>
                    <a:pt x="2177990" y="150109"/>
                    <a:pt x="2177967" y="150967"/>
                    <a:pt x="2177874" y="151813"/>
                  </a:cubicBezTo>
                  <a:cubicBezTo>
                    <a:pt x="2177874" y="195271"/>
                    <a:pt x="2129781" y="214276"/>
                    <a:pt x="2093161" y="216710"/>
                  </a:cubicBezTo>
                  <a:close/>
                  <a:moveTo>
                    <a:pt x="2278581" y="309420"/>
                  </a:moveTo>
                  <a:cubicBezTo>
                    <a:pt x="2292997" y="309489"/>
                    <a:pt x="2304760" y="297878"/>
                    <a:pt x="2304887" y="283461"/>
                  </a:cubicBezTo>
                  <a:cubicBezTo>
                    <a:pt x="2304887" y="268929"/>
                    <a:pt x="2293113" y="257155"/>
                    <a:pt x="2278581" y="257155"/>
                  </a:cubicBezTo>
                  <a:cubicBezTo>
                    <a:pt x="2264048" y="257155"/>
                    <a:pt x="2252274" y="268929"/>
                    <a:pt x="2252274" y="283461"/>
                  </a:cubicBezTo>
                  <a:cubicBezTo>
                    <a:pt x="2252587" y="297796"/>
                    <a:pt x="2264234" y="309304"/>
                    <a:pt x="2278581" y="309420"/>
                  </a:cubicBezTo>
                  <a:close/>
                </a:path>
              </a:pathLst>
            </a:custGeom>
            <a:solidFill>
              <a:schemeClr val="bg1"/>
            </a:solidFill>
            <a:ln w="115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xmlns="" id="{8E190809-1DA6-497A-BE14-B5ACB3B882F9}"/>
                </a:ext>
              </a:extLst>
            </p:cNvPr>
            <p:cNvSpPr/>
            <p:nvPr/>
          </p:nvSpPr>
          <p:spPr>
            <a:xfrm>
              <a:off x="4114800" y="3022599"/>
              <a:ext cx="3036253" cy="312896"/>
            </a:xfrm>
            <a:custGeom>
              <a:avLst/>
              <a:gdLst>
                <a:gd name="connsiteX0" fmla="*/ 0 w 3036253"/>
                <a:gd name="connsiteY0" fmla="*/ 290878 h 312896"/>
                <a:gd name="connsiteX1" fmla="*/ 58523 w 3036253"/>
                <a:gd name="connsiteY1" fmla="*/ 290878 h 312896"/>
                <a:gd name="connsiteX2" fmla="*/ 58523 w 3036253"/>
                <a:gd name="connsiteY2" fmla="*/ 91551 h 312896"/>
                <a:gd name="connsiteX3" fmla="*/ 59334 w 3036253"/>
                <a:gd name="connsiteY3" fmla="*/ 91551 h 312896"/>
                <a:gd name="connsiteX4" fmla="*/ 128867 w 3036253"/>
                <a:gd name="connsiteY4" fmla="*/ 290878 h 312896"/>
                <a:gd name="connsiteX5" fmla="*/ 177076 w 3036253"/>
                <a:gd name="connsiteY5" fmla="*/ 290878 h 312896"/>
                <a:gd name="connsiteX6" fmla="*/ 246609 w 3036253"/>
                <a:gd name="connsiteY6" fmla="*/ 89581 h 312896"/>
                <a:gd name="connsiteX7" fmla="*/ 247420 w 3036253"/>
                <a:gd name="connsiteY7" fmla="*/ 89581 h 312896"/>
                <a:gd name="connsiteX8" fmla="*/ 247420 w 3036253"/>
                <a:gd name="connsiteY8" fmla="*/ 290878 h 312896"/>
                <a:gd name="connsiteX9" fmla="*/ 305364 w 3036253"/>
                <a:gd name="connsiteY9" fmla="*/ 290878 h 312896"/>
                <a:gd name="connsiteX10" fmla="*/ 305364 w 3036253"/>
                <a:gd name="connsiteY10" fmla="*/ 6837 h 312896"/>
                <a:gd name="connsiteX11" fmla="*/ 217521 w 3036253"/>
                <a:gd name="connsiteY11" fmla="*/ 6837 h 312896"/>
                <a:gd name="connsiteX12" fmla="*/ 155637 w 3036253"/>
                <a:gd name="connsiteY12" fmla="*/ 202224 h 312896"/>
                <a:gd name="connsiteX13" fmla="*/ 154826 w 3036253"/>
                <a:gd name="connsiteY13" fmla="*/ 202224 h 312896"/>
                <a:gd name="connsiteX14" fmla="*/ 88422 w 3036253"/>
                <a:gd name="connsiteY14" fmla="*/ 6837 h 312896"/>
                <a:gd name="connsiteX15" fmla="*/ 463 w 3036253"/>
                <a:gd name="connsiteY15" fmla="*/ 6837 h 312896"/>
                <a:gd name="connsiteX16" fmla="*/ 463 w 3036253"/>
                <a:gd name="connsiteY16" fmla="*/ 290878 h 312896"/>
                <a:gd name="connsiteX17" fmla="*/ 410589 w 3036253"/>
                <a:gd name="connsiteY17" fmla="*/ 150075 h 312896"/>
                <a:gd name="connsiteX18" fmla="*/ 487771 w 3036253"/>
                <a:gd name="connsiteY18" fmla="*/ 52613 h 312896"/>
                <a:gd name="connsiteX19" fmla="*/ 564952 w 3036253"/>
                <a:gd name="connsiteY19" fmla="*/ 150075 h 312896"/>
                <a:gd name="connsiteX20" fmla="*/ 487771 w 3036253"/>
                <a:gd name="connsiteY20" fmla="*/ 245102 h 312896"/>
                <a:gd name="connsiteX21" fmla="*/ 410589 w 3036253"/>
                <a:gd name="connsiteY21" fmla="*/ 150075 h 312896"/>
                <a:gd name="connsiteX22" fmla="*/ 348126 w 3036253"/>
                <a:gd name="connsiteY22" fmla="*/ 150075 h 312896"/>
                <a:gd name="connsiteX23" fmla="*/ 487191 w 3036253"/>
                <a:gd name="connsiteY23" fmla="*/ 297715 h 312896"/>
                <a:gd name="connsiteX24" fmla="*/ 626836 w 3036253"/>
                <a:gd name="connsiteY24" fmla="*/ 150075 h 312896"/>
                <a:gd name="connsiteX25" fmla="*/ 487191 w 3036253"/>
                <a:gd name="connsiteY25" fmla="*/ 0 h 312896"/>
                <a:gd name="connsiteX26" fmla="*/ 348126 w 3036253"/>
                <a:gd name="connsiteY26" fmla="*/ 150075 h 312896"/>
                <a:gd name="connsiteX27" fmla="*/ 732873 w 3036253"/>
                <a:gd name="connsiteY27" fmla="*/ 55047 h 312896"/>
                <a:gd name="connsiteX28" fmla="*/ 801362 w 3036253"/>
                <a:gd name="connsiteY28" fmla="*/ 55047 h 312896"/>
                <a:gd name="connsiteX29" fmla="*/ 844356 w 3036253"/>
                <a:gd name="connsiteY29" fmla="*/ 94448 h 312896"/>
                <a:gd name="connsiteX30" fmla="*/ 801362 w 3036253"/>
                <a:gd name="connsiteY30" fmla="*/ 135009 h 312896"/>
                <a:gd name="connsiteX31" fmla="*/ 732873 w 3036253"/>
                <a:gd name="connsiteY31" fmla="*/ 135009 h 312896"/>
                <a:gd name="connsiteX32" fmla="*/ 732873 w 3036253"/>
                <a:gd name="connsiteY32" fmla="*/ 55047 h 312896"/>
                <a:gd name="connsiteX33" fmla="*/ 670409 w 3036253"/>
                <a:gd name="connsiteY33" fmla="*/ 290530 h 312896"/>
                <a:gd name="connsiteX34" fmla="*/ 732873 w 3036253"/>
                <a:gd name="connsiteY34" fmla="*/ 290530 h 312896"/>
                <a:gd name="connsiteX35" fmla="*/ 732873 w 3036253"/>
                <a:gd name="connsiteY35" fmla="*/ 179510 h 312896"/>
                <a:gd name="connsiteX36" fmla="*/ 795336 w 3036253"/>
                <a:gd name="connsiteY36" fmla="*/ 179510 h 312896"/>
                <a:gd name="connsiteX37" fmla="*/ 842734 w 3036253"/>
                <a:gd name="connsiteY37" fmla="*/ 222504 h 312896"/>
                <a:gd name="connsiteX38" fmla="*/ 852700 w 3036253"/>
                <a:gd name="connsiteY38" fmla="*/ 290530 h 312896"/>
                <a:gd name="connsiteX39" fmla="*/ 915164 w 3036253"/>
                <a:gd name="connsiteY39" fmla="*/ 290530 h 312896"/>
                <a:gd name="connsiteX40" fmla="*/ 903575 w 3036253"/>
                <a:gd name="connsiteY40" fmla="*/ 223315 h 312896"/>
                <a:gd name="connsiteX41" fmla="*/ 862203 w 3036253"/>
                <a:gd name="connsiteY41" fmla="*/ 156912 h 312896"/>
                <a:gd name="connsiteX42" fmla="*/ 862203 w 3036253"/>
                <a:gd name="connsiteY42" fmla="*/ 156101 h 312896"/>
                <a:gd name="connsiteX43" fmla="*/ 907168 w 3036253"/>
                <a:gd name="connsiteY43" fmla="*/ 84830 h 312896"/>
                <a:gd name="connsiteX44" fmla="*/ 823960 w 3036253"/>
                <a:gd name="connsiteY44" fmla="*/ 6490 h 312896"/>
                <a:gd name="connsiteX45" fmla="*/ 670409 w 3036253"/>
                <a:gd name="connsiteY45" fmla="*/ 6490 h 312896"/>
                <a:gd name="connsiteX46" fmla="*/ 670409 w 3036253"/>
                <a:gd name="connsiteY46" fmla="*/ 290530 h 312896"/>
                <a:gd name="connsiteX47" fmla="*/ 957695 w 3036253"/>
                <a:gd name="connsiteY47" fmla="*/ 290530 h 312896"/>
                <a:gd name="connsiteX48" fmla="*/ 1173361 w 3036253"/>
                <a:gd name="connsiteY48" fmla="*/ 290530 h 312896"/>
                <a:gd name="connsiteX49" fmla="*/ 1173361 w 3036253"/>
                <a:gd name="connsiteY49" fmla="*/ 238033 h 312896"/>
                <a:gd name="connsiteX50" fmla="*/ 1020158 w 3036253"/>
                <a:gd name="connsiteY50" fmla="*/ 238033 h 312896"/>
                <a:gd name="connsiteX51" fmla="*/ 1020158 w 3036253"/>
                <a:gd name="connsiteY51" fmla="*/ 168501 h 312896"/>
                <a:gd name="connsiteX52" fmla="*/ 1157832 w 3036253"/>
                <a:gd name="connsiteY52" fmla="*/ 168501 h 312896"/>
                <a:gd name="connsiteX53" fmla="*/ 1157832 w 3036253"/>
                <a:gd name="connsiteY53" fmla="*/ 119944 h 312896"/>
                <a:gd name="connsiteX54" fmla="*/ 1020158 w 3036253"/>
                <a:gd name="connsiteY54" fmla="*/ 119944 h 312896"/>
                <a:gd name="connsiteX55" fmla="*/ 1020158 w 3036253"/>
                <a:gd name="connsiteY55" fmla="*/ 59103 h 312896"/>
                <a:gd name="connsiteX56" fmla="*/ 1170812 w 3036253"/>
                <a:gd name="connsiteY56" fmla="*/ 59103 h 312896"/>
                <a:gd name="connsiteX57" fmla="*/ 1170812 w 3036253"/>
                <a:gd name="connsiteY57" fmla="*/ 6606 h 312896"/>
                <a:gd name="connsiteX58" fmla="*/ 957695 w 3036253"/>
                <a:gd name="connsiteY58" fmla="*/ 6606 h 312896"/>
                <a:gd name="connsiteX59" fmla="*/ 957695 w 3036253"/>
                <a:gd name="connsiteY59" fmla="*/ 290646 h 312896"/>
                <a:gd name="connsiteX60" fmla="*/ 1451955 w 3036253"/>
                <a:gd name="connsiteY60" fmla="*/ 217289 h 312896"/>
                <a:gd name="connsiteX61" fmla="*/ 1478609 w 3036253"/>
                <a:gd name="connsiteY61" fmla="*/ 241510 h 312896"/>
                <a:gd name="connsiteX62" fmla="*/ 1453461 w 3036253"/>
                <a:gd name="connsiteY62" fmla="*/ 245450 h 312896"/>
                <a:gd name="connsiteX63" fmla="*/ 1376280 w 3036253"/>
                <a:gd name="connsiteY63" fmla="*/ 150422 h 312896"/>
                <a:gd name="connsiteX64" fmla="*/ 1453461 w 3036253"/>
                <a:gd name="connsiteY64" fmla="*/ 52961 h 312896"/>
                <a:gd name="connsiteX65" fmla="*/ 1530642 w 3036253"/>
                <a:gd name="connsiteY65" fmla="*/ 150422 h 312896"/>
                <a:gd name="connsiteX66" fmla="*/ 1513144 w 3036253"/>
                <a:gd name="connsiteY66" fmla="*/ 215667 h 312896"/>
                <a:gd name="connsiteX67" fmla="*/ 1480927 w 3036253"/>
                <a:gd name="connsiteY67" fmla="*/ 186231 h 312896"/>
                <a:gd name="connsiteX68" fmla="*/ 1451955 w 3036253"/>
                <a:gd name="connsiteY68" fmla="*/ 217289 h 312896"/>
                <a:gd name="connsiteX69" fmla="*/ 1591599 w 3036253"/>
                <a:gd name="connsiteY69" fmla="*/ 286822 h 312896"/>
                <a:gd name="connsiteX70" fmla="*/ 1556138 w 3036253"/>
                <a:gd name="connsiteY70" fmla="*/ 254605 h 312896"/>
                <a:gd name="connsiteX71" fmla="*/ 1593222 w 3036253"/>
                <a:gd name="connsiteY71" fmla="*/ 150306 h 312896"/>
                <a:gd name="connsiteX72" fmla="*/ 1453461 w 3036253"/>
                <a:gd name="connsiteY72" fmla="*/ 232 h 312896"/>
                <a:gd name="connsiteX73" fmla="*/ 1313817 w 3036253"/>
                <a:gd name="connsiteY73" fmla="*/ 150306 h 312896"/>
                <a:gd name="connsiteX74" fmla="*/ 1453461 w 3036253"/>
                <a:gd name="connsiteY74" fmla="*/ 297947 h 312896"/>
                <a:gd name="connsiteX75" fmla="*/ 1522298 w 3036253"/>
                <a:gd name="connsiteY75" fmla="*/ 281143 h 312896"/>
                <a:gd name="connsiteX76" fmla="*/ 1562511 w 3036253"/>
                <a:gd name="connsiteY76" fmla="*/ 317764 h 312896"/>
                <a:gd name="connsiteX77" fmla="*/ 1591599 w 3036253"/>
                <a:gd name="connsiteY77" fmla="*/ 287169 h 312896"/>
                <a:gd name="connsiteX78" fmla="*/ 1876914 w 3036253"/>
                <a:gd name="connsiteY78" fmla="*/ 6721 h 312896"/>
                <a:gd name="connsiteX79" fmla="*/ 1814451 w 3036253"/>
                <a:gd name="connsiteY79" fmla="*/ 6721 h 312896"/>
                <a:gd name="connsiteX80" fmla="*/ 1814451 w 3036253"/>
                <a:gd name="connsiteY80" fmla="*/ 183334 h 312896"/>
                <a:gd name="connsiteX81" fmla="*/ 1755464 w 3036253"/>
                <a:gd name="connsiteY81" fmla="*/ 244987 h 312896"/>
                <a:gd name="connsiteX82" fmla="*/ 1697520 w 3036253"/>
                <a:gd name="connsiteY82" fmla="*/ 183334 h 312896"/>
                <a:gd name="connsiteX83" fmla="*/ 1697520 w 3036253"/>
                <a:gd name="connsiteY83" fmla="*/ 6837 h 312896"/>
                <a:gd name="connsiteX84" fmla="*/ 1635057 w 3036253"/>
                <a:gd name="connsiteY84" fmla="*/ 6837 h 312896"/>
                <a:gd name="connsiteX85" fmla="*/ 1635057 w 3036253"/>
                <a:gd name="connsiteY85" fmla="*/ 183450 h 312896"/>
                <a:gd name="connsiteX86" fmla="*/ 1755928 w 3036253"/>
                <a:gd name="connsiteY86" fmla="*/ 297715 h 312896"/>
                <a:gd name="connsiteX87" fmla="*/ 1877378 w 3036253"/>
                <a:gd name="connsiteY87" fmla="*/ 183450 h 312896"/>
                <a:gd name="connsiteX88" fmla="*/ 1877378 w 3036253"/>
                <a:gd name="connsiteY88" fmla="*/ 6837 h 312896"/>
                <a:gd name="connsiteX89" fmla="*/ 2039157 w 3036253"/>
                <a:gd name="connsiteY89" fmla="*/ 76254 h 312896"/>
                <a:gd name="connsiteX90" fmla="*/ 2039968 w 3036253"/>
                <a:gd name="connsiteY90" fmla="*/ 76254 h 312896"/>
                <a:gd name="connsiteX91" fmla="*/ 2075777 w 3036253"/>
                <a:gd name="connsiteY91" fmla="*/ 180553 h 312896"/>
                <a:gd name="connsiteX92" fmla="*/ 2002189 w 3036253"/>
                <a:gd name="connsiteY92" fmla="*/ 180553 h 312896"/>
                <a:gd name="connsiteX93" fmla="*/ 2039157 w 3036253"/>
                <a:gd name="connsiteY93" fmla="*/ 76254 h 312896"/>
                <a:gd name="connsiteX94" fmla="*/ 1900092 w 3036253"/>
                <a:gd name="connsiteY94" fmla="*/ 290298 h 312896"/>
                <a:gd name="connsiteX95" fmla="*/ 1963482 w 3036253"/>
                <a:gd name="connsiteY95" fmla="*/ 290298 h 312896"/>
                <a:gd name="connsiteX96" fmla="*/ 1985733 w 3036253"/>
                <a:gd name="connsiteY96" fmla="*/ 227024 h 312896"/>
                <a:gd name="connsiteX97" fmla="*/ 2092002 w 3036253"/>
                <a:gd name="connsiteY97" fmla="*/ 227024 h 312896"/>
                <a:gd name="connsiteX98" fmla="*/ 2113441 w 3036253"/>
                <a:gd name="connsiteY98" fmla="*/ 290298 h 312896"/>
                <a:gd name="connsiteX99" fmla="*/ 2178338 w 3036253"/>
                <a:gd name="connsiteY99" fmla="*/ 290298 h 312896"/>
                <a:gd name="connsiteX100" fmla="*/ 2072069 w 3036253"/>
                <a:gd name="connsiteY100" fmla="*/ 6258 h 312896"/>
                <a:gd name="connsiteX101" fmla="*/ 2008099 w 3036253"/>
                <a:gd name="connsiteY101" fmla="*/ 6258 h 312896"/>
                <a:gd name="connsiteX102" fmla="*/ 1900208 w 3036253"/>
                <a:gd name="connsiteY102" fmla="*/ 290298 h 312896"/>
                <a:gd name="connsiteX103" fmla="*/ 2202906 w 3036253"/>
                <a:gd name="connsiteY103" fmla="*/ 290298 h 312896"/>
                <a:gd name="connsiteX104" fmla="*/ 2403855 w 3036253"/>
                <a:gd name="connsiteY104" fmla="*/ 290298 h 312896"/>
                <a:gd name="connsiteX105" fmla="*/ 2403855 w 3036253"/>
                <a:gd name="connsiteY105" fmla="*/ 237801 h 312896"/>
                <a:gd name="connsiteX106" fmla="*/ 2265601 w 3036253"/>
                <a:gd name="connsiteY106" fmla="*/ 237801 h 312896"/>
                <a:gd name="connsiteX107" fmla="*/ 2265601 w 3036253"/>
                <a:gd name="connsiteY107" fmla="*/ 6026 h 312896"/>
                <a:gd name="connsiteX108" fmla="*/ 2203138 w 3036253"/>
                <a:gd name="connsiteY108" fmla="*/ 6026 h 312896"/>
                <a:gd name="connsiteX109" fmla="*/ 2203138 w 3036253"/>
                <a:gd name="connsiteY109" fmla="*/ 290067 h 312896"/>
                <a:gd name="connsiteX110" fmla="*/ 2438853 w 3036253"/>
                <a:gd name="connsiteY110" fmla="*/ 290298 h 312896"/>
                <a:gd name="connsiteX111" fmla="*/ 2501317 w 3036253"/>
                <a:gd name="connsiteY111" fmla="*/ 290298 h 312896"/>
                <a:gd name="connsiteX112" fmla="*/ 2501317 w 3036253"/>
                <a:gd name="connsiteY112" fmla="*/ 6837 h 312896"/>
                <a:gd name="connsiteX113" fmla="*/ 2438621 w 3036253"/>
                <a:gd name="connsiteY113" fmla="*/ 6837 h 312896"/>
                <a:gd name="connsiteX114" fmla="*/ 2438621 w 3036253"/>
                <a:gd name="connsiteY114" fmla="*/ 290878 h 312896"/>
                <a:gd name="connsiteX115" fmla="*/ 2619058 w 3036253"/>
                <a:gd name="connsiteY115" fmla="*/ 290298 h 312896"/>
                <a:gd name="connsiteX116" fmla="*/ 2681985 w 3036253"/>
                <a:gd name="connsiteY116" fmla="*/ 290298 h 312896"/>
                <a:gd name="connsiteX117" fmla="*/ 2681985 w 3036253"/>
                <a:gd name="connsiteY117" fmla="*/ 58523 h 312896"/>
                <a:gd name="connsiteX118" fmla="*/ 2767163 w 3036253"/>
                <a:gd name="connsiteY118" fmla="*/ 58523 h 312896"/>
                <a:gd name="connsiteX119" fmla="*/ 2767163 w 3036253"/>
                <a:gd name="connsiteY119" fmla="*/ 6026 h 312896"/>
                <a:gd name="connsiteX120" fmla="*/ 2534229 w 3036253"/>
                <a:gd name="connsiteY120" fmla="*/ 6026 h 312896"/>
                <a:gd name="connsiteX121" fmla="*/ 2534229 w 3036253"/>
                <a:gd name="connsiteY121" fmla="*/ 58523 h 312896"/>
                <a:gd name="connsiteX122" fmla="*/ 2619290 w 3036253"/>
                <a:gd name="connsiteY122" fmla="*/ 58523 h 312896"/>
                <a:gd name="connsiteX123" fmla="*/ 2619290 w 3036253"/>
                <a:gd name="connsiteY123" fmla="*/ 290298 h 312896"/>
                <a:gd name="connsiteX124" fmla="*/ 2872968 w 3036253"/>
                <a:gd name="connsiteY124" fmla="*/ 290298 h 312896"/>
                <a:gd name="connsiteX125" fmla="*/ 2935431 w 3036253"/>
                <a:gd name="connsiteY125" fmla="*/ 290298 h 312896"/>
                <a:gd name="connsiteX126" fmla="*/ 2935431 w 3036253"/>
                <a:gd name="connsiteY126" fmla="*/ 181248 h 312896"/>
                <a:gd name="connsiteX127" fmla="*/ 3040889 w 3036253"/>
                <a:gd name="connsiteY127" fmla="*/ 6258 h 312896"/>
                <a:gd name="connsiteX128" fmla="*/ 2971356 w 3036253"/>
                <a:gd name="connsiteY128" fmla="*/ 6258 h 312896"/>
                <a:gd name="connsiteX129" fmla="*/ 2905300 w 3036253"/>
                <a:gd name="connsiteY129" fmla="*/ 118437 h 312896"/>
                <a:gd name="connsiteX130" fmla="*/ 2838897 w 3036253"/>
                <a:gd name="connsiteY130" fmla="*/ 6258 h 312896"/>
                <a:gd name="connsiteX131" fmla="*/ 2768437 w 3036253"/>
                <a:gd name="connsiteY131" fmla="*/ 6258 h 312896"/>
                <a:gd name="connsiteX132" fmla="*/ 2872736 w 3036253"/>
                <a:gd name="connsiteY132" fmla="*/ 180089 h 312896"/>
                <a:gd name="connsiteX133" fmla="*/ 2872736 w 3036253"/>
                <a:gd name="connsiteY133" fmla="*/ 290646 h 31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3036253" h="312896">
                  <a:moveTo>
                    <a:pt x="0" y="290878"/>
                  </a:moveTo>
                  <a:lnTo>
                    <a:pt x="58523" y="290878"/>
                  </a:lnTo>
                  <a:lnTo>
                    <a:pt x="58523" y="91551"/>
                  </a:lnTo>
                  <a:lnTo>
                    <a:pt x="59334" y="91551"/>
                  </a:lnTo>
                  <a:lnTo>
                    <a:pt x="128867" y="290878"/>
                  </a:lnTo>
                  <a:lnTo>
                    <a:pt x="177076" y="290878"/>
                  </a:lnTo>
                  <a:lnTo>
                    <a:pt x="246609" y="89581"/>
                  </a:lnTo>
                  <a:lnTo>
                    <a:pt x="247420" y="89581"/>
                  </a:lnTo>
                  <a:lnTo>
                    <a:pt x="247420" y="290878"/>
                  </a:lnTo>
                  <a:lnTo>
                    <a:pt x="305364" y="290878"/>
                  </a:lnTo>
                  <a:lnTo>
                    <a:pt x="305364" y="6837"/>
                  </a:lnTo>
                  <a:lnTo>
                    <a:pt x="217521" y="6837"/>
                  </a:lnTo>
                  <a:lnTo>
                    <a:pt x="155637" y="202224"/>
                  </a:lnTo>
                  <a:lnTo>
                    <a:pt x="154826" y="202224"/>
                  </a:lnTo>
                  <a:lnTo>
                    <a:pt x="88422" y="6837"/>
                  </a:lnTo>
                  <a:lnTo>
                    <a:pt x="463" y="6837"/>
                  </a:lnTo>
                  <a:lnTo>
                    <a:pt x="463" y="290878"/>
                  </a:lnTo>
                  <a:close/>
                  <a:moveTo>
                    <a:pt x="410589" y="150075"/>
                  </a:moveTo>
                  <a:cubicBezTo>
                    <a:pt x="410589" y="100359"/>
                    <a:pt x="431681" y="52613"/>
                    <a:pt x="487771" y="52613"/>
                  </a:cubicBezTo>
                  <a:cubicBezTo>
                    <a:pt x="543860" y="52613"/>
                    <a:pt x="564952" y="100359"/>
                    <a:pt x="564952" y="150075"/>
                  </a:cubicBezTo>
                  <a:cubicBezTo>
                    <a:pt x="564952" y="197357"/>
                    <a:pt x="543860" y="245102"/>
                    <a:pt x="487771" y="245102"/>
                  </a:cubicBezTo>
                  <a:cubicBezTo>
                    <a:pt x="431681" y="245102"/>
                    <a:pt x="410589" y="197357"/>
                    <a:pt x="410589" y="150075"/>
                  </a:cubicBezTo>
                  <a:close/>
                  <a:moveTo>
                    <a:pt x="348126" y="150075"/>
                  </a:moveTo>
                  <a:cubicBezTo>
                    <a:pt x="348126" y="232007"/>
                    <a:pt x="400160" y="297715"/>
                    <a:pt x="487191" y="297715"/>
                  </a:cubicBezTo>
                  <a:cubicBezTo>
                    <a:pt x="574223" y="297715"/>
                    <a:pt x="626836" y="232007"/>
                    <a:pt x="626836" y="150075"/>
                  </a:cubicBezTo>
                  <a:cubicBezTo>
                    <a:pt x="626836" y="65708"/>
                    <a:pt x="574686" y="0"/>
                    <a:pt x="487191" y="0"/>
                  </a:cubicBezTo>
                  <a:cubicBezTo>
                    <a:pt x="399696" y="0"/>
                    <a:pt x="348126" y="65708"/>
                    <a:pt x="348126" y="150075"/>
                  </a:cubicBezTo>
                  <a:close/>
                  <a:moveTo>
                    <a:pt x="732873" y="55047"/>
                  </a:moveTo>
                  <a:lnTo>
                    <a:pt x="801362" y="55047"/>
                  </a:lnTo>
                  <a:cubicBezTo>
                    <a:pt x="829639" y="55047"/>
                    <a:pt x="844356" y="66635"/>
                    <a:pt x="844356" y="94448"/>
                  </a:cubicBezTo>
                  <a:cubicBezTo>
                    <a:pt x="844356" y="122261"/>
                    <a:pt x="829639" y="135009"/>
                    <a:pt x="801362" y="135009"/>
                  </a:cubicBezTo>
                  <a:lnTo>
                    <a:pt x="732873" y="135009"/>
                  </a:lnTo>
                  <a:lnTo>
                    <a:pt x="732873" y="55047"/>
                  </a:lnTo>
                  <a:close/>
                  <a:moveTo>
                    <a:pt x="670409" y="290530"/>
                  </a:moveTo>
                  <a:lnTo>
                    <a:pt x="732873" y="290530"/>
                  </a:lnTo>
                  <a:lnTo>
                    <a:pt x="732873" y="179510"/>
                  </a:lnTo>
                  <a:lnTo>
                    <a:pt x="795336" y="179510"/>
                  </a:lnTo>
                  <a:cubicBezTo>
                    <a:pt x="826857" y="179510"/>
                    <a:pt x="838330" y="192721"/>
                    <a:pt x="842734" y="222504"/>
                  </a:cubicBezTo>
                  <a:cubicBezTo>
                    <a:pt x="845979" y="245682"/>
                    <a:pt x="845515" y="272683"/>
                    <a:pt x="852700" y="290530"/>
                  </a:cubicBezTo>
                  <a:lnTo>
                    <a:pt x="915164" y="290530"/>
                  </a:lnTo>
                  <a:cubicBezTo>
                    <a:pt x="903575" y="275001"/>
                    <a:pt x="904386" y="241278"/>
                    <a:pt x="903575" y="223315"/>
                  </a:cubicBezTo>
                  <a:cubicBezTo>
                    <a:pt x="901605" y="194228"/>
                    <a:pt x="892797" y="165371"/>
                    <a:pt x="862203" y="156912"/>
                  </a:cubicBezTo>
                  <a:lnTo>
                    <a:pt x="862203" y="156101"/>
                  </a:lnTo>
                  <a:cubicBezTo>
                    <a:pt x="894072" y="143353"/>
                    <a:pt x="907168" y="118321"/>
                    <a:pt x="907168" y="84830"/>
                  </a:cubicBezTo>
                  <a:cubicBezTo>
                    <a:pt x="907168" y="41835"/>
                    <a:pt x="874951" y="6490"/>
                    <a:pt x="823960" y="6490"/>
                  </a:cubicBezTo>
                  <a:lnTo>
                    <a:pt x="670409" y="6490"/>
                  </a:lnTo>
                  <a:lnTo>
                    <a:pt x="670409" y="290530"/>
                  </a:lnTo>
                  <a:close/>
                  <a:moveTo>
                    <a:pt x="957695" y="290530"/>
                  </a:moveTo>
                  <a:lnTo>
                    <a:pt x="1173361" y="290530"/>
                  </a:lnTo>
                  <a:lnTo>
                    <a:pt x="1173361" y="238033"/>
                  </a:lnTo>
                  <a:lnTo>
                    <a:pt x="1020158" y="238033"/>
                  </a:lnTo>
                  <a:lnTo>
                    <a:pt x="1020158" y="168501"/>
                  </a:lnTo>
                  <a:lnTo>
                    <a:pt x="1157832" y="168501"/>
                  </a:lnTo>
                  <a:lnTo>
                    <a:pt x="1157832" y="119944"/>
                  </a:lnTo>
                  <a:lnTo>
                    <a:pt x="1020158" y="119944"/>
                  </a:lnTo>
                  <a:lnTo>
                    <a:pt x="1020158" y="59103"/>
                  </a:lnTo>
                  <a:lnTo>
                    <a:pt x="1170812" y="59103"/>
                  </a:lnTo>
                  <a:lnTo>
                    <a:pt x="1170812" y="6606"/>
                  </a:lnTo>
                  <a:lnTo>
                    <a:pt x="957695" y="6606"/>
                  </a:lnTo>
                  <a:lnTo>
                    <a:pt x="957695" y="290646"/>
                  </a:lnTo>
                  <a:close/>
                  <a:moveTo>
                    <a:pt x="1451955" y="217289"/>
                  </a:moveTo>
                  <a:lnTo>
                    <a:pt x="1478609" y="241510"/>
                  </a:lnTo>
                  <a:cubicBezTo>
                    <a:pt x="1474205" y="245913"/>
                    <a:pt x="1462616" y="245450"/>
                    <a:pt x="1453461" y="245450"/>
                  </a:cubicBezTo>
                  <a:cubicBezTo>
                    <a:pt x="1397372" y="245450"/>
                    <a:pt x="1376280" y="197704"/>
                    <a:pt x="1376280" y="150422"/>
                  </a:cubicBezTo>
                  <a:cubicBezTo>
                    <a:pt x="1376280" y="100706"/>
                    <a:pt x="1397372" y="52961"/>
                    <a:pt x="1453461" y="52961"/>
                  </a:cubicBezTo>
                  <a:cubicBezTo>
                    <a:pt x="1509551" y="52961"/>
                    <a:pt x="1530642" y="100706"/>
                    <a:pt x="1530642" y="150422"/>
                  </a:cubicBezTo>
                  <a:cubicBezTo>
                    <a:pt x="1532045" y="173495"/>
                    <a:pt x="1525903" y="196395"/>
                    <a:pt x="1513144" y="215667"/>
                  </a:cubicBezTo>
                  <a:lnTo>
                    <a:pt x="1480927" y="186231"/>
                  </a:lnTo>
                  <a:lnTo>
                    <a:pt x="1451955" y="217289"/>
                  </a:lnTo>
                  <a:close/>
                  <a:moveTo>
                    <a:pt x="1591599" y="286822"/>
                  </a:moveTo>
                  <a:lnTo>
                    <a:pt x="1556138" y="254605"/>
                  </a:lnTo>
                  <a:cubicBezTo>
                    <a:pt x="1580868" y="225563"/>
                    <a:pt x="1594056" y="188445"/>
                    <a:pt x="1593222" y="150306"/>
                  </a:cubicBezTo>
                  <a:cubicBezTo>
                    <a:pt x="1593222" y="65940"/>
                    <a:pt x="1541072" y="232"/>
                    <a:pt x="1453461" y="232"/>
                  </a:cubicBezTo>
                  <a:cubicBezTo>
                    <a:pt x="1365850" y="232"/>
                    <a:pt x="1313817" y="65940"/>
                    <a:pt x="1313817" y="150306"/>
                  </a:cubicBezTo>
                  <a:cubicBezTo>
                    <a:pt x="1313817" y="232239"/>
                    <a:pt x="1365966" y="297947"/>
                    <a:pt x="1453461" y="297947"/>
                  </a:cubicBezTo>
                  <a:cubicBezTo>
                    <a:pt x="1477485" y="298527"/>
                    <a:pt x="1501242" y="292720"/>
                    <a:pt x="1522298" y="281143"/>
                  </a:cubicBezTo>
                  <a:lnTo>
                    <a:pt x="1562511" y="317764"/>
                  </a:lnTo>
                  <a:lnTo>
                    <a:pt x="1591599" y="287169"/>
                  </a:lnTo>
                  <a:close/>
                  <a:moveTo>
                    <a:pt x="1876914" y="6721"/>
                  </a:moveTo>
                  <a:lnTo>
                    <a:pt x="1814451" y="6721"/>
                  </a:lnTo>
                  <a:lnTo>
                    <a:pt x="1814451" y="183334"/>
                  </a:lnTo>
                  <a:cubicBezTo>
                    <a:pt x="1814451" y="225981"/>
                    <a:pt x="1800081" y="244987"/>
                    <a:pt x="1755464" y="244987"/>
                  </a:cubicBezTo>
                  <a:cubicBezTo>
                    <a:pt x="1704937" y="244987"/>
                    <a:pt x="1697520" y="214392"/>
                    <a:pt x="1697520" y="183334"/>
                  </a:cubicBezTo>
                  <a:lnTo>
                    <a:pt x="1697520" y="6837"/>
                  </a:lnTo>
                  <a:lnTo>
                    <a:pt x="1635057" y="6837"/>
                  </a:lnTo>
                  <a:lnTo>
                    <a:pt x="1635057" y="183450"/>
                  </a:lnTo>
                  <a:cubicBezTo>
                    <a:pt x="1635057" y="261095"/>
                    <a:pt x="1679210" y="297715"/>
                    <a:pt x="1755928" y="297715"/>
                  </a:cubicBezTo>
                  <a:cubicBezTo>
                    <a:pt x="1832645" y="297715"/>
                    <a:pt x="1877378" y="260283"/>
                    <a:pt x="1877378" y="183450"/>
                  </a:cubicBezTo>
                  <a:lnTo>
                    <a:pt x="1877378" y="6837"/>
                  </a:lnTo>
                  <a:close/>
                  <a:moveTo>
                    <a:pt x="2039157" y="76254"/>
                  </a:moveTo>
                  <a:lnTo>
                    <a:pt x="2039968" y="76254"/>
                  </a:lnTo>
                  <a:lnTo>
                    <a:pt x="2075777" y="180553"/>
                  </a:lnTo>
                  <a:lnTo>
                    <a:pt x="2002189" y="180553"/>
                  </a:lnTo>
                  <a:lnTo>
                    <a:pt x="2039157" y="76254"/>
                  </a:lnTo>
                  <a:close/>
                  <a:moveTo>
                    <a:pt x="1900092" y="290298"/>
                  </a:moveTo>
                  <a:lnTo>
                    <a:pt x="1963482" y="290298"/>
                  </a:lnTo>
                  <a:lnTo>
                    <a:pt x="1985733" y="227024"/>
                  </a:lnTo>
                  <a:lnTo>
                    <a:pt x="2092002" y="227024"/>
                  </a:lnTo>
                  <a:lnTo>
                    <a:pt x="2113441" y="290298"/>
                  </a:lnTo>
                  <a:lnTo>
                    <a:pt x="2178338" y="290298"/>
                  </a:lnTo>
                  <a:lnTo>
                    <a:pt x="2072069" y="6258"/>
                  </a:lnTo>
                  <a:lnTo>
                    <a:pt x="2008099" y="6258"/>
                  </a:lnTo>
                  <a:lnTo>
                    <a:pt x="1900208" y="290298"/>
                  </a:lnTo>
                  <a:close/>
                  <a:moveTo>
                    <a:pt x="2202906" y="290298"/>
                  </a:moveTo>
                  <a:lnTo>
                    <a:pt x="2403855" y="290298"/>
                  </a:lnTo>
                  <a:lnTo>
                    <a:pt x="2403855" y="237801"/>
                  </a:lnTo>
                  <a:lnTo>
                    <a:pt x="2265601" y="237801"/>
                  </a:lnTo>
                  <a:lnTo>
                    <a:pt x="2265601" y="6026"/>
                  </a:lnTo>
                  <a:lnTo>
                    <a:pt x="2203138" y="6026"/>
                  </a:lnTo>
                  <a:lnTo>
                    <a:pt x="2203138" y="290067"/>
                  </a:lnTo>
                  <a:close/>
                  <a:moveTo>
                    <a:pt x="2438853" y="290298"/>
                  </a:moveTo>
                  <a:lnTo>
                    <a:pt x="2501317" y="290298"/>
                  </a:lnTo>
                  <a:lnTo>
                    <a:pt x="2501317" y="6837"/>
                  </a:lnTo>
                  <a:lnTo>
                    <a:pt x="2438621" y="6837"/>
                  </a:lnTo>
                  <a:lnTo>
                    <a:pt x="2438621" y="290878"/>
                  </a:lnTo>
                  <a:close/>
                  <a:moveTo>
                    <a:pt x="2619058" y="290298"/>
                  </a:moveTo>
                  <a:lnTo>
                    <a:pt x="2681985" y="290298"/>
                  </a:lnTo>
                  <a:lnTo>
                    <a:pt x="2681985" y="58523"/>
                  </a:lnTo>
                  <a:lnTo>
                    <a:pt x="2767163" y="58523"/>
                  </a:lnTo>
                  <a:lnTo>
                    <a:pt x="2767163" y="6026"/>
                  </a:lnTo>
                  <a:lnTo>
                    <a:pt x="2534229" y="6026"/>
                  </a:lnTo>
                  <a:lnTo>
                    <a:pt x="2534229" y="58523"/>
                  </a:lnTo>
                  <a:lnTo>
                    <a:pt x="2619290" y="58523"/>
                  </a:lnTo>
                  <a:lnTo>
                    <a:pt x="2619290" y="290298"/>
                  </a:lnTo>
                  <a:close/>
                  <a:moveTo>
                    <a:pt x="2872968" y="290298"/>
                  </a:moveTo>
                  <a:lnTo>
                    <a:pt x="2935431" y="290298"/>
                  </a:lnTo>
                  <a:lnTo>
                    <a:pt x="2935431" y="181248"/>
                  </a:lnTo>
                  <a:lnTo>
                    <a:pt x="3040889" y="6258"/>
                  </a:lnTo>
                  <a:lnTo>
                    <a:pt x="2971356" y="6258"/>
                  </a:lnTo>
                  <a:lnTo>
                    <a:pt x="2905300" y="118437"/>
                  </a:lnTo>
                  <a:lnTo>
                    <a:pt x="2838897" y="6258"/>
                  </a:lnTo>
                  <a:lnTo>
                    <a:pt x="2768437" y="6258"/>
                  </a:lnTo>
                  <a:lnTo>
                    <a:pt x="2872736" y="180089"/>
                  </a:lnTo>
                  <a:lnTo>
                    <a:pt x="2872736" y="290646"/>
                  </a:lnTo>
                  <a:close/>
                </a:path>
              </a:pathLst>
            </a:custGeom>
            <a:solidFill>
              <a:schemeClr val="bg1"/>
            </a:solidFill>
            <a:ln w="115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655128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410867" y="1609751"/>
            <a:ext cx="11350360" cy="4921403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 smtClean="0"/>
              <a:t>Bild auf Platzhalter ziehen oder durch Klicken auf Symbol hinzufügen</a:t>
            </a:r>
            <a:endParaRPr lang="de-AT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750363"/>
              </p:ext>
            </p:extLst>
          </p:nvPr>
        </p:nvGraphicFramePr>
        <p:xfrm>
          <a:off x="1811" y="1441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1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986193" y="3211639"/>
            <a:ext cx="7092649" cy="1025922"/>
          </a:xfrm>
        </p:spPr>
        <p:txBody>
          <a:bodyPr/>
          <a:lstStyle>
            <a:lvl1pPr>
              <a:defRPr sz="2700" b="1"/>
            </a:lvl1pPr>
          </a:lstStyle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986193" y="4136734"/>
            <a:ext cx="7092649" cy="287771"/>
          </a:xfrm>
        </p:spPr>
        <p:txBody>
          <a:bodyPr/>
          <a:lstStyle>
            <a:lvl1pPr marL="0" indent="0" algn="l">
              <a:buNone/>
              <a:defRPr sz="1700" b="0">
                <a:solidFill>
                  <a:schemeClr val="tx1"/>
                </a:solidFill>
              </a:defRPr>
            </a:lvl1pPr>
            <a:lvl2pPr marL="497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3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1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89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8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84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8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TT.MM.YYYY</a:t>
            </a:r>
            <a:endParaRPr lang="en-GB" dirty="0"/>
          </a:p>
        </p:txBody>
      </p:sp>
      <p:sp>
        <p:nvSpPr>
          <p:cNvPr id="4" name="Rechteck 3"/>
          <p:cNvSpPr/>
          <p:nvPr userDrawn="1"/>
        </p:nvSpPr>
        <p:spPr>
          <a:xfrm>
            <a:off x="11435430" y="6591628"/>
            <a:ext cx="325796" cy="164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400" dirty="0" err="1" smtClean="0">
              <a:solidFill>
                <a:schemeClr val="tx1"/>
              </a:solidFill>
            </a:endParaRPr>
          </a:p>
        </p:txBody>
      </p:sp>
      <p:pic>
        <p:nvPicPr>
          <p:cNvPr id="11" name="Bild 10" descr="Praesentation_Claim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5093" y="6012808"/>
            <a:ext cx="2056133" cy="51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3159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7" y="1476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7" y="1476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5590" y="2029911"/>
            <a:ext cx="11398421" cy="19466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648191" y="6556363"/>
            <a:ext cx="9528564" cy="184068"/>
          </a:xfrm>
        </p:spPr>
        <p:txBody>
          <a:bodyPr/>
          <a:lstStyle/>
          <a:p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1510036" y="6516880"/>
            <a:ext cx="374573" cy="263044"/>
          </a:xfrm>
          <a:prstGeom prst="rect">
            <a:avLst/>
          </a:prstGeom>
        </p:spPr>
        <p:txBody>
          <a:bodyPr vert="horz" lIns="91019" tIns="45509" rIns="91019" bIns="45509" rtlCol="0" anchor="ctr"/>
          <a:lstStyle>
            <a:lvl1pPr algn="r">
              <a:defRPr sz="1112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A588911F-60F1-324D-807B-1AA86D5CEEF6}" type="slidenum">
              <a:rPr lang="de-DE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Vertikaler Titel 3"/>
          <p:cNvSpPr>
            <a:spLocks noGrp="1"/>
          </p:cNvSpPr>
          <p:nvPr>
            <p:ph type="title"/>
          </p:nvPr>
        </p:nvSpPr>
        <p:spPr>
          <a:xfrm>
            <a:off x="1663371" y="694376"/>
            <a:ext cx="10097857" cy="102592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>
          <a:xfrm>
            <a:off x="1652503" y="6388490"/>
            <a:ext cx="9526485" cy="172441"/>
          </a:xfrm>
          <a:prstGeom prst="rect">
            <a:avLst/>
          </a:prstGeom>
        </p:spPr>
        <p:txBody>
          <a:bodyPr/>
          <a:lstStyle/>
          <a:p>
            <a:fld id="{DF407B40-3AF9-48F0-9A8F-6A08E2BC387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2.04.202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257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68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xmlns="" id="{EB3C7D75-9594-45B5-83D3-82F1B906463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9" y="368301"/>
            <a:ext cx="11376024" cy="6121399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82709" y="3405984"/>
            <a:ext cx="8911628" cy="1416734"/>
          </a:xfrm>
        </p:spPr>
        <p:txBody>
          <a:bodyPr anchor="b"/>
          <a:lstStyle>
            <a:lvl1pPr algn="r">
              <a:lnSpc>
                <a:spcPts val="5500"/>
              </a:lnSpc>
              <a:defRPr sz="5400" spc="-22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räsentation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0028B41E-8586-4C9B-87A7-BF96DC5E60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82709" y="5359229"/>
            <a:ext cx="8911628" cy="70788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3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(Arial 23pt)</a:t>
            </a:r>
            <a:br>
              <a:rPr lang="de-DE" dirty="0"/>
            </a:br>
            <a:r>
              <a:rPr lang="de-DE" dirty="0"/>
              <a:t>00.00.2019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xmlns="" id="{708F2622-BD83-427E-9330-34D0111B918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37424" y="559311"/>
            <a:ext cx="828329" cy="740104"/>
          </a:xfr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28085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67" tIns="38987" rIns="77967" bIns="38987" rtlCol="0" anchor="ctr"/>
          <a:lstStyle/>
          <a:p>
            <a:pPr algn="ctr" defTabSz="868667"/>
            <a:endParaRPr lang="de-DE" sz="1197" dirty="0" err="1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417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B7DD7951-F944-4363-90F2-8F618E58F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686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75996DA5-4641-48F0-A611-3DE1B95F04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88CC9AD0-9B36-4799-8378-60D24DBA9E6F}"/>
              </a:ext>
            </a:extLst>
          </p:cNvPr>
          <p:cNvSpPr/>
          <p:nvPr userDrawn="1"/>
        </p:nvSpPr>
        <p:spPr>
          <a:xfrm>
            <a:off x="1" y="-1"/>
            <a:ext cx="3521798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/>
          </a:p>
        </p:txBody>
      </p:sp>
      <p:sp>
        <p:nvSpPr>
          <p:cNvPr id="13" name="Bildplatzhalter 13">
            <a:extLst>
              <a:ext uri="{FF2B5EF4-FFF2-40B4-BE49-F238E27FC236}">
                <a16:creationId xmlns:a16="http://schemas.microsoft.com/office/drawing/2014/main" xmlns="" id="{3F196CA9-A2E0-4EA5-A6CD-EB38AC9808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21799" y="385763"/>
            <a:ext cx="8262213" cy="610393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11809"/>
            <a:ext cx="2914634" cy="205184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Arial Black (36PT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A42619E7-D35C-48A3-A070-E600F22EF8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7988" y="559311"/>
            <a:ext cx="828329" cy="74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24932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2" orient="horz" pos="77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302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27689" y="1146605"/>
            <a:ext cx="4824412" cy="844590"/>
          </a:xfrm>
        </p:spPr>
        <p:txBody>
          <a:bodyPr anchor="b"/>
          <a:lstStyle>
            <a:lvl1pPr>
              <a:lnSpc>
                <a:spcPct val="98000"/>
              </a:lnSpc>
              <a:defRPr sz="2800" spc="-150" baseline="0"/>
            </a:lvl1pPr>
          </a:lstStyle>
          <a:p>
            <a:r>
              <a:rPr lang="de-DE" dirty="0"/>
              <a:t>Agenda / Inhalt</a:t>
            </a:r>
            <a:br>
              <a:rPr lang="de-DE" dirty="0"/>
            </a:br>
            <a:r>
              <a:rPr lang="de-DE" dirty="0"/>
              <a:t>(Arial Black 28PT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472A926-E263-4EC9-99BD-3D3000386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7688" y="2799316"/>
            <a:ext cx="6149179" cy="295606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2800" cap="all" spc="-15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01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2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3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4_Thema</a:t>
            </a:r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xmlns="" id="{58877342-5F5B-4C6B-96A0-471EAE3F07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100263"/>
            <a:ext cx="5483225" cy="3921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7851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545" userDrawn="1">
          <p15:clr>
            <a:srgbClr val="FBAE40"/>
          </p15:clr>
        </p15:guide>
        <p15:guide id="2" pos="3454" userDrawn="1">
          <p15:clr>
            <a:srgbClr val="FBAE40"/>
          </p15:clr>
        </p15:guide>
        <p15:guide id="3" orient="horz" pos="1275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068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6E72EA5B-3B21-4059-9249-A728CF6E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7801" y="2100263"/>
            <a:ext cx="3924299" cy="422295"/>
          </a:xfrm>
        </p:spPr>
        <p:txBody>
          <a:bodyPr anchor="b"/>
          <a:lstStyle>
            <a:lvl1pPr>
              <a:lnSpc>
                <a:spcPct val="98000"/>
              </a:lnSpc>
              <a:defRPr sz="2800" spc="-150" baseline="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0</a:t>
            </a:r>
            <a:r>
              <a:rPr lang="de-DE" dirty="0"/>
              <a:t>1___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472A926-E263-4EC9-99BD-3D3000386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2577381"/>
            <a:ext cx="5256211" cy="2359107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4500" cap="all" spc="-16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2300" cap="all" spc="-20" baseline="0">
                <a:solidFill>
                  <a:schemeClr val="tx1"/>
                </a:solidFill>
                <a:latin typeface="+mn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(Arial Black</a:t>
            </a:r>
            <a:br>
              <a:rPr lang="de-DE" dirty="0"/>
            </a:br>
            <a:r>
              <a:rPr lang="de-DE" dirty="0"/>
              <a:t>45/45PT)</a:t>
            </a:r>
          </a:p>
          <a:p>
            <a:pPr lvl="1"/>
            <a:r>
              <a:rPr lang="de-DE" dirty="0">
                <a:latin typeface="+mn-lt"/>
              </a:rPr>
              <a:t>Bei Bedarf mi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einem kurzem Tex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und Inhal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(Arial 23/23PT)</a:t>
            </a:r>
            <a:endParaRPr lang="de-DE" dirty="0"/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xmlns="" id="{58877342-5F5B-4C6B-96A0-471EAE3F07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100263"/>
            <a:ext cx="6383338" cy="3921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xmlns="" id="{57505423-4238-4C0C-9243-1AC0845E07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72472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112" userDrawn="1">
          <p15:clr>
            <a:srgbClr val="FBAE40"/>
          </p15:clr>
        </p15:guide>
        <p15:guide id="2" pos="4021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5DB6040B-953B-4382-A631-BD1A2117A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94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ACDE5EB3-48C5-4956-A72F-8EF039A1E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xmlns="" id="{E76A98A8-1EA6-4E25-A092-9280EBBE57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2029911"/>
            <a:ext cx="11398421" cy="19729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93892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275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5DB6040B-953B-4382-A631-BD1A2117A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7680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ACDE5EB3-48C5-4956-A72F-8EF039A1E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591" y="2068007"/>
            <a:ext cx="11398421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5347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275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Fotorahmen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040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6E72EA5B-3B21-4059-9249-A728CF6E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E276D26A-F2F9-4EFB-88EA-269AC02ECD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415134 w 12192000"/>
              <a:gd name="connsiteY0" fmla="*/ 385765 h 6858000"/>
              <a:gd name="connsiteX1" fmla="*/ 415134 w 12192000"/>
              <a:gd name="connsiteY1" fmla="*/ 6472238 h 6858000"/>
              <a:gd name="connsiteX2" fmla="*/ 11776868 w 12192000"/>
              <a:gd name="connsiteY2" fmla="*/ 6472238 h 6858000"/>
              <a:gd name="connsiteX3" fmla="*/ 11776868 w 12192000"/>
              <a:gd name="connsiteY3" fmla="*/ 38576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15134" y="385765"/>
                </a:moveTo>
                <a:lnTo>
                  <a:pt x="415134" y="6472238"/>
                </a:lnTo>
                <a:lnTo>
                  <a:pt x="11776868" y="6472238"/>
                </a:lnTo>
                <a:lnTo>
                  <a:pt x="11776868" y="38576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39787" y="2600145"/>
            <a:ext cx="9612312" cy="1190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839787" y="1354838"/>
            <a:ext cx="9612312" cy="102592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</a:t>
            </a:r>
            <a:br>
              <a:rPr lang="de-DE" dirty="0"/>
            </a:br>
            <a:r>
              <a:rPr lang="de-DE" dirty="0"/>
              <a:t>(Arial Black 36PT)</a:t>
            </a:r>
          </a:p>
        </p:txBody>
      </p:sp>
    </p:spTree>
    <p:extLst>
      <p:ext uri="{BB962C8B-B14F-4D97-AF65-F5344CB8AC3E}">
        <p14:creationId xmlns:p14="http://schemas.microsoft.com/office/powerpoint/2010/main" val="15055804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545">
          <p15:clr>
            <a:srgbClr val="FBAE40"/>
          </p15:clr>
        </p15:guide>
        <p15:guide id="2" pos="3454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Fotorahmen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20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E276D26A-F2F9-4EFB-88EA-269AC02ECD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415134 w 12192000"/>
              <a:gd name="connsiteY0" fmla="*/ 385765 h 6858000"/>
              <a:gd name="connsiteX1" fmla="*/ 415134 w 12192000"/>
              <a:gd name="connsiteY1" fmla="*/ 6472238 h 6858000"/>
              <a:gd name="connsiteX2" fmla="*/ 11776868 w 12192000"/>
              <a:gd name="connsiteY2" fmla="*/ 6472238 h 6858000"/>
              <a:gd name="connsiteX3" fmla="*/ 11776868 w 12192000"/>
              <a:gd name="connsiteY3" fmla="*/ 38576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15134" y="385765"/>
                </a:moveTo>
                <a:lnTo>
                  <a:pt x="415134" y="6472238"/>
                </a:lnTo>
                <a:lnTo>
                  <a:pt x="11776868" y="6472238"/>
                </a:lnTo>
                <a:lnTo>
                  <a:pt x="11776868" y="38576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839787" y="1354838"/>
            <a:ext cx="9612312" cy="102592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</a:t>
            </a:r>
            <a:br>
              <a:rPr lang="de-DE" dirty="0"/>
            </a:br>
            <a:r>
              <a:rPr lang="de-DE" dirty="0"/>
              <a:t>(Arial Black 36PT)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6" y="2600145"/>
            <a:ext cx="9612312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46088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545">
          <p15:clr>
            <a:srgbClr val="FBAE40"/>
          </p15:clr>
        </p15:guide>
        <p15:guide id="2" pos="3454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23E3AC79-F792-4DCE-8858-2E5CAB1D7607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6951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8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FE14993D-858D-4EFC-9378-33B8335E6E93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D1F85BA2-6DA0-43F2-B96E-A56960A6A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0101"/>
            <a:ext cx="10035460" cy="10259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Headline ein- oder zweizeilig</a:t>
            </a:r>
            <a:br>
              <a:rPr lang="de-DE" dirty="0"/>
            </a:br>
            <a:r>
              <a:rPr lang="de-DE" dirty="0"/>
              <a:t>Arial Black (40/44PT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454CB54-C656-4951-B19F-EFAB65A133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5014" y="6339973"/>
            <a:ext cx="31899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100" b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fld id="{51E35F2D-46CB-4692-9D84-F12A32C0DE8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5F1B7BBD-C12E-4196-AA26-79D80BD0B5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590" y="2029911"/>
            <a:ext cx="11398421" cy="1916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385590" y="6340415"/>
            <a:ext cx="9250116" cy="16883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Fußzeile</a:t>
            </a:r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4338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6" r:id="rId3"/>
    <p:sldLayoutId id="2147483650" r:id="rId4"/>
    <p:sldLayoutId id="2147483665" r:id="rId5"/>
    <p:sldLayoutId id="2147483661" r:id="rId6"/>
    <p:sldLayoutId id="2147483675" r:id="rId7"/>
    <p:sldLayoutId id="2147483664" r:id="rId8"/>
    <p:sldLayoutId id="2147483677" r:id="rId9"/>
    <p:sldLayoutId id="2147483662" r:id="rId10"/>
    <p:sldLayoutId id="2147483669" r:id="rId11"/>
    <p:sldLayoutId id="2147483676" r:id="rId12"/>
    <p:sldLayoutId id="2147483670" r:id="rId13"/>
    <p:sldLayoutId id="2147483663" r:id="rId14"/>
    <p:sldLayoutId id="2147483672" r:id="rId15"/>
    <p:sldLayoutId id="2147483673" r:id="rId16"/>
    <p:sldLayoutId id="2147483674" r:id="rId17"/>
    <p:sldLayoutId id="2147483678" r:id="rId18"/>
    <p:sldLayoutId id="2147483680" r:id="rId19"/>
    <p:sldLayoutId id="2147483684" r:id="rId20"/>
  </p:sldLayoutIdLst>
  <p:hf hdr="0" dt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3600" kern="1200" cap="all" spc="-1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7650" indent="-2476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63525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tabLst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63525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989013" indent="-2603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1243013" indent="-268288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22.jpeg"/><Relationship Id="rId3" Type="http://schemas.openxmlformats.org/officeDocument/2006/relationships/tags" Target="../tags/tag57.xml"/><Relationship Id="rId7" Type="http://schemas.openxmlformats.org/officeDocument/2006/relationships/oleObject" Target="../embeddings/oleObject29.bin"/><Relationship Id="rId12" Type="http://schemas.openxmlformats.org/officeDocument/2006/relationships/image" Target="../media/image21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jpg"/><Relationship Id="rId11" Type="http://schemas.openxmlformats.org/officeDocument/2006/relationships/image" Target="../media/image20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9.jpe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59.xml"/><Relationship Id="rId7" Type="http://schemas.openxmlformats.org/officeDocument/2006/relationships/image" Target="../media/image24.jpeg"/><Relationship Id="rId12" Type="http://schemas.openxmlformats.org/officeDocument/2006/relationships/image" Target="../media/image25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3.jpg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61.xml"/><Relationship Id="rId7" Type="http://schemas.openxmlformats.org/officeDocument/2006/relationships/image" Target="../media/image1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3.jpg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65.xml"/><Relationship Id="rId7" Type="http://schemas.openxmlformats.org/officeDocument/2006/relationships/image" Target="../media/image14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jpg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1.bin"/><Relationship Id="rId12" Type="http://schemas.microsoft.com/office/2007/relationships/hdphoto" Target="../media/hdphoto1.wdp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jpg"/><Relationship Id="rId11" Type="http://schemas.openxmlformats.org/officeDocument/2006/relationships/image" Target="../media/image10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1.xml"/><Relationship Id="rId7" Type="http://schemas.openxmlformats.org/officeDocument/2006/relationships/oleObject" Target="../embeddings/oleObject26.bin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3.jpg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27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3.jpg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55.xml"/><Relationship Id="rId7" Type="http://schemas.openxmlformats.org/officeDocument/2006/relationships/image" Target="../media/image17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3.jp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982709" y="3412075"/>
            <a:ext cx="8979205" cy="1410643"/>
          </a:xfrm>
        </p:spPr>
        <p:txBody>
          <a:bodyPr/>
          <a:lstStyle/>
          <a:p>
            <a:r>
              <a:rPr lang="en-GB" dirty="0" smtClean="0"/>
              <a:t>LR PROTECTION </a:t>
            </a:r>
            <a:r>
              <a:rPr dirty="0"/>
              <a:t/>
            </a:r>
            <a:br>
              <a:rPr dirty="0"/>
            </a:b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982709" y="5359229"/>
            <a:ext cx="8911628" cy="353943"/>
          </a:xfrm>
        </p:spPr>
        <p:txBody>
          <a:bodyPr/>
          <a:lstStyle/>
          <a:p>
            <a:r>
              <a:rPr lang="en-GB" dirty="0" err="1" smtClean="0"/>
              <a:t>Apresentação</a:t>
            </a:r>
            <a:r>
              <a:rPr lang="en-GB" dirty="0" smtClean="0"/>
              <a:t> </a:t>
            </a:r>
            <a:r>
              <a:rPr lang="en-GB" dirty="0" err="1" smtClean="0"/>
              <a:t>abril</a:t>
            </a:r>
            <a:r>
              <a:rPr lang="en-GB" dirty="0" smtClean="0"/>
              <a:t>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46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176" y="3176"/>
            <a:ext cx="12188824" cy="6854824"/>
          </a:xfrm>
          <a:prstGeom prst="rect">
            <a:avLst/>
          </a:prstGeom>
        </p:spPr>
      </p:pic>
      <p:sp>
        <p:nvSpPr>
          <p:cNvPr id="34" name="Rechteck 33"/>
          <p:cNvSpPr/>
          <p:nvPr/>
        </p:nvSpPr>
        <p:spPr>
          <a:xfrm>
            <a:off x="3176" y="0"/>
            <a:ext cx="12188824" cy="685800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35" name="Rechteck 34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37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57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518160" cy="1025922"/>
          </a:xfrm>
        </p:spPr>
        <p:txBody>
          <a:bodyPr/>
          <a:lstStyle/>
          <a:p>
            <a:r>
              <a:rPr lang="pt-PT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higiene adequada das mãos é importante</a:t>
            </a:r>
            <a:endParaRPr lang="en-GB" b="1" i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10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100"/>
          <a:stretch/>
        </p:blipFill>
        <p:spPr>
          <a:xfrm>
            <a:off x="9119054" y="4309131"/>
            <a:ext cx="1391414" cy="133949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9691" y="4279881"/>
            <a:ext cx="1762173" cy="129449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39"/>
          <a:stretch/>
        </p:blipFill>
        <p:spPr>
          <a:xfrm>
            <a:off x="5544932" y="4312920"/>
            <a:ext cx="1337355" cy="134282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40532" y="2159173"/>
            <a:ext cx="1486723" cy="138585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1947" y="2142475"/>
            <a:ext cx="1583836" cy="1377249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4101" y="2159173"/>
            <a:ext cx="1548485" cy="1441278"/>
          </a:xfrm>
          <a:prstGeom prst="rect">
            <a:avLst/>
          </a:prstGeom>
        </p:spPr>
      </p:pic>
      <p:sp>
        <p:nvSpPr>
          <p:cNvPr id="18" name="TextBox 20"/>
          <p:cNvSpPr txBox="1"/>
          <p:nvPr/>
        </p:nvSpPr>
        <p:spPr>
          <a:xfrm>
            <a:off x="407988" y="1468099"/>
            <a:ext cx="77152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b="1" dirty="0" smtClean="0">
                <a:latin typeface="+mj-lt"/>
              </a:rPr>
              <a:t>MÃO HIGIENICAMENTE LIMPAS EM 6 PASSOS: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34149" y="3459117"/>
            <a:ext cx="28999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pt-PT" sz="1400" dirty="0"/>
              <a:t>Aplique </a:t>
            </a:r>
            <a:r>
              <a:rPr lang="pt-PT" sz="1400" dirty="0" smtClean="0"/>
              <a:t>produto suficiente para </a:t>
            </a:r>
            <a:r>
              <a:rPr lang="pt-PT" sz="1400" dirty="0"/>
              <a:t>cobrir as mãos e esfregue as </a:t>
            </a:r>
            <a:r>
              <a:rPr lang="pt-PT" sz="1400" dirty="0" smtClean="0"/>
              <a:t>palmas</a:t>
            </a:r>
            <a:r>
              <a:rPr lang="en-GB" sz="1400" dirty="0" smtClean="0"/>
              <a:t>. </a:t>
            </a:r>
            <a:endParaRPr lang="en-GB" sz="1400" dirty="0"/>
          </a:p>
        </p:txBody>
      </p:sp>
      <p:sp>
        <p:nvSpPr>
          <p:cNvPr id="28" name="TextBox 20"/>
          <p:cNvSpPr txBox="1"/>
          <p:nvPr/>
        </p:nvSpPr>
        <p:spPr>
          <a:xfrm>
            <a:off x="8120744" y="5651333"/>
            <a:ext cx="34289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400" dirty="0"/>
              <a:t>Esfregue as pontas da mão direita na palma da mão esquerda e vice-versa.</a:t>
            </a:r>
            <a:endParaRPr lang="en-GB" sz="1400" dirty="0"/>
          </a:p>
        </p:txBody>
      </p:sp>
      <p:sp>
        <p:nvSpPr>
          <p:cNvPr id="29" name="TextBox 20"/>
          <p:cNvSpPr txBox="1"/>
          <p:nvPr/>
        </p:nvSpPr>
        <p:spPr>
          <a:xfrm>
            <a:off x="1034149" y="5555399"/>
            <a:ext cx="2781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400" dirty="0"/>
              <a:t>Esfregue as costas dos dedos nas palmas das mãos.</a:t>
            </a:r>
            <a:endParaRPr lang="en-GB" sz="1400" dirty="0"/>
          </a:p>
        </p:txBody>
      </p:sp>
      <p:sp>
        <p:nvSpPr>
          <p:cNvPr id="30" name="TextBox 20"/>
          <p:cNvSpPr txBox="1"/>
          <p:nvPr/>
        </p:nvSpPr>
        <p:spPr>
          <a:xfrm>
            <a:off x="8389035" y="3462574"/>
            <a:ext cx="3075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pt-PT" sz="1400" dirty="0"/>
              <a:t>Esfregue as mãos com os dedos entrelaçados.</a:t>
            </a:r>
            <a:endParaRPr lang="en-GB" sz="1400" dirty="0"/>
          </a:p>
        </p:txBody>
      </p:sp>
      <p:sp>
        <p:nvSpPr>
          <p:cNvPr id="31" name="TextBox 20"/>
          <p:cNvSpPr txBox="1"/>
          <p:nvPr/>
        </p:nvSpPr>
        <p:spPr>
          <a:xfrm>
            <a:off x="4456836" y="5651333"/>
            <a:ext cx="31958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>
                <a:schemeClr val="accent6"/>
              </a:buClr>
            </a:pPr>
            <a:r>
              <a:rPr lang="pt-PT" sz="1400" dirty="0"/>
              <a:t>Esfregue o polegar direito com a mão esquerda e vice-versa.</a:t>
            </a:r>
            <a:endParaRPr lang="en-GB" sz="1400" dirty="0"/>
          </a:p>
        </p:txBody>
      </p:sp>
      <p:sp>
        <p:nvSpPr>
          <p:cNvPr id="32" name="TextBox 20"/>
          <p:cNvSpPr txBox="1"/>
          <p:nvPr/>
        </p:nvSpPr>
        <p:spPr>
          <a:xfrm>
            <a:off x="4811490" y="3482651"/>
            <a:ext cx="30913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pt-PT" sz="1400" dirty="0"/>
              <a:t>Esfregue as costas da mão esquerda com a palma da mão direita e vice-versa.</a:t>
            </a:r>
            <a:endParaRPr lang="en-GB" sz="1400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326814" y="2273192"/>
            <a:ext cx="799092" cy="488594"/>
            <a:chOff x="651882" y="2273192"/>
            <a:chExt cx="799092" cy="488594"/>
          </a:xfrm>
        </p:grpSpPr>
        <p:sp>
          <p:nvSpPr>
            <p:cNvPr id="4" name="Textfeld 3"/>
            <p:cNvSpPr txBox="1"/>
            <p:nvPr/>
          </p:nvSpPr>
          <p:spPr>
            <a:xfrm>
              <a:off x="807363" y="2342505"/>
              <a:ext cx="643611" cy="359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 smtClean="0"/>
                <a:t>1</a:t>
              </a:r>
            </a:p>
          </p:txBody>
        </p:sp>
        <p:sp>
          <p:nvSpPr>
            <p:cNvPr id="5" name="Ellipse 4"/>
            <p:cNvSpPr/>
            <p:nvPr/>
          </p:nvSpPr>
          <p:spPr>
            <a:xfrm>
              <a:off x="651882" y="2273192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4996444" y="2288662"/>
            <a:ext cx="799093" cy="488594"/>
            <a:chOff x="3330886" y="2288662"/>
            <a:chExt cx="799093" cy="488594"/>
          </a:xfrm>
        </p:grpSpPr>
        <p:sp>
          <p:nvSpPr>
            <p:cNvPr id="22" name="Textfeld 21"/>
            <p:cNvSpPr txBox="1"/>
            <p:nvPr/>
          </p:nvSpPr>
          <p:spPr>
            <a:xfrm>
              <a:off x="3486368" y="2342505"/>
              <a:ext cx="643611" cy="359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/>
                <a:t>2</a:t>
              </a:r>
              <a:endParaRPr lang="en-GB" sz="2300" b="1" dirty="0" smtClean="0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30886" y="2288662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8560428" y="2288662"/>
            <a:ext cx="788207" cy="488594"/>
            <a:chOff x="6274368" y="2288662"/>
            <a:chExt cx="788207" cy="488594"/>
          </a:xfrm>
        </p:grpSpPr>
        <p:sp>
          <p:nvSpPr>
            <p:cNvPr id="23" name="Textfeld 22"/>
            <p:cNvSpPr txBox="1"/>
            <p:nvPr/>
          </p:nvSpPr>
          <p:spPr>
            <a:xfrm>
              <a:off x="6418964" y="2342505"/>
              <a:ext cx="643611" cy="359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 smtClean="0"/>
                <a:t>3</a:t>
              </a:r>
            </a:p>
          </p:txBody>
        </p:sp>
        <p:sp>
          <p:nvSpPr>
            <p:cNvPr id="40" name="Ellipse 39"/>
            <p:cNvSpPr/>
            <p:nvPr/>
          </p:nvSpPr>
          <p:spPr>
            <a:xfrm>
              <a:off x="6274368" y="2288662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1290440" y="4446233"/>
            <a:ext cx="788207" cy="488594"/>
            <a:chOff x="1855149" y="4446233"/>
            <a:chExt cx="788207" cy="488594"/>
          </a:xfrm>
        </p:grpSpPr>
        <p:sp>
          <p:nvSpPr>
            <p:cNvPr id="24" name="Textfeld 23"/>
            <p:cNvSpPr txBox="1"/>
            <p:nvPr/>
          </p:nvSpPr>
          <p:spPr>
            <a:xfrm>
              <a:off x="1999745" y="4497606"/>
              <a:ext cx="643611" cy="3893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 smtClean="0"/>
                <a:t>4</a:t>
              </a:r>
            </a:p>
          </p:txBody>
        </p:sp>
        <p:sp>
          <p:nvSpPr>
            <p:cNvPr id="41" name="Ellipse 40"/>
            <p:cNvSpPr/>
            <p:nvPr/>
          </p:nvSpPr>
          <p:spPr>
            <a:xfrm>
              <a:off x="1855149" y="4446233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grpSp>
        <p:nvGrpSpPr>
          <p:cNvPr id="45" name="Gruppieren 44"/>
          <p:cNvGrpSpPr/>
          <p:nvPr/>
        </p:nvGrpSpPr>
        <p:grpSpPr>
          <a:xfrm>
            <a:off x="5102451" y="4517553"/>
            <a:ext cx="799093" cy="488594"/>
            <a:chOff x="4960933" y="4517553"/>
            <a:chExt cx="799093" cy="488594"/>
          </a:xfrm>
        </p:grpSpPr>
        <p:sp>
          <p:nvSpPr>
            <p:cNvPr id="25" name="Textfeld 24"/>
            <p:cNvSpPr txBox="1"/>
            <p:nvPr/>
          </p:nvSpPr>
          <p:spPr>
            <a:xfrm>
              <a:off x="5116415" y="4589961"/>
              <a:ext cx="643611" cy="3893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 smtClean="0"/>
                <a:t>5</a:t>
              </a:r>
            </a:p>
          </p:txBody>
        </p:sp>
        <p:sp>
          <p:nvSpPr>
            <p:cNvPr id="42" name="Ellipse 41"/>
            <p:cNvSpPr/>
            <p:nvPr/>
          </p:nvSpPr>
          <p:spPr>
            <a:xfrm>
              <a:off x="4960933" y="4517553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8652652" y="4580306"/>
            <a:ext cx="788207" cy="488594"/>
            <a:chOff x="7640254" y="4580306"/>
            <a:chExt cx="788207" cy="488594"/>
          </a:xfrm>
        </p:grpSpPr>
        <p:sp>
          <p:nvSpPr>
            <p:cNvPr id="26" name="Textfeld 25"/>
            <p:cNvSpPr txBox="1"/>
            <p:nvPr/>
          </p:nvSpPr>
          <p:spPr>
            <a:xfrm>
              <a:off x="7784850" y="4641872"/>
              <a:ext cx="643611" cy="3893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300" b="1" dirty="0" smtClean="0"/>
                <a:t>6</a:t>
              </a:r>
            </a:p>
          </p:txBody>
        </p:sp>
        <p:sp>
          <p:nvSpPr>
            <p:cNvPr id="43" name="Ellipse 42"/>
            <p:cNvSpPr/>
            <p:nvPr/>
          </p:nvSpPr>
          <p:spPr>
            <a:xfrm>
              <a:off x="7640254" y="4580306"/>
              <a:ext cx="466401" cy="488594"/>
            </a:xfrm>
            <a:prstGeom prst="ellipse">
              <a:avLst/>
            </a:prstGeom>
            <a:noFill/>
            <a:ln w="28575">
              <a:solidFill>
                <a:srgbClr val="0078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84823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30008" y="3174"/>
            <a:ext cx="12222005" cy="6854825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-30008" y="-39240"/>
            <a:ext cx="12349008" cy="7420135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" name="Rechteck 3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5566" y="2255192"/>
            <a:ext cx="1488143" cy="387555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001" b="21025"/>
          <a:stretch/>
        </p:blipFill>
        <p:spPr>
          <a:xfrm rot="9002932" flipV="1">
            <a:off x="699875" y="759039"/>
            <a:ext cx="9349592" cy="697779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18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57431" y="471144"/>
            <a:ext cx="10518160" cy="512961"/>
          </a:xfrm>
        </p:spPr>
        <p:txBody>
          <a:bodyPr/>
          <a:lstStyle/>
          <a:p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teção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upla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contra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s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rmes</a:t>
            </a:r>
            <a:endParaRPr lang="en-GB" b="1" i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11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1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67" name="Grafik 6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166" y="1226728"/>
            <a:ext cx="2299383" cy="50492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extfeld 1"/>
          <p:cNvSpPr txBox="1"/>
          <p:nvPr/>
        </p:nvSpPr>
        <p:spPr>
          <a:xfrm>
            <a:off x="609600" y="2700918"/>
            <a:ext cx="3416300" cy="369717"/>
          </a:xfrm>
          <a:prstGeom prst="rect">
            <a:avLst/>
          </a:prstGeom>
          <a:noFill/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2300" dirty="0" err="1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juda</a:t>
            </a:r>
            <a:r>
              <a:rPr lang="en-GB" sz="2300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en-GB" sz="2300" dirty="0" err="1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rápida</a:t>
            </a:r>
            <a:endParaRPr lang="en-GB" sz="2300" dirty="0" smtClean="0">
              <a:solidFill>
                <a:srgbClr val="003366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7820025" y="2452032"/>
            <a:ext cx="3864081" cy="792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2400" cap="all" dirty="0" err="1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roteção</a:t>
            </a:r>
            <a:r>
              <a:rPr lang="en-GB" sz="2400" cap="all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en-GB" sz="2400" cap="all" dirty="0" err="1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uradoura</a:t>
            </a:r>
            <a:endParaRPr lang="en-GB" sz="2300" cap="all" dirty="0" smtClean="0">
              <a:solidFill>
                <a:srgbClr val="003366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533400" y="1737769"/>
            <a:ext cx="3657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/>
              <a:t>LR PROTECTION </a:t>
            </a:r>
            <a:r>
              <a:rPr dirty="0"/>
              <a:t/>
            </a:r>
            <a:br>
              <a:rPr dirty="0"/>
            </a:br>
            <a:r>
              <a:rPr lang="en-GB" sz="1600" b="1" dirty="0" smtClean="0"/>
              <a:t>Spray de </a:t>
            </a:r>
            <a:r>
              <a:rPr lang="en-GB" sz="1600" b="1" dirty="0" err="1" smtClean="0"/>
              <a:t>mãos</a:t>
            </a:r>
            <a:r>
              <a:rPr lang="en-GB" sz="1600" b="1" dirty="0" smtClean="0"/>
              <a:t> </a:t>
            </a:r>
            <a:r>
              <a:rPr lang="en-GB" sz="1600" b="1" dirty="0" err="1" smtClean="0"/>
              <a:t>hidroalcoólico</a:t>
            </a:r>
            <a:endParaRPr lang="en-GB" sz="1600" b="1" dirty="0"/>
          </a:p>
        </p:txBody>
      </p:sp>
      <p:sp>
        <p:nvSpPr>
          <p:cNvPr id="7" name="Rechteck 6"/>
          <p:cNvSpPr/>
          <p:nvPr/>
        </p:nvSpPr>
        <p:spPr>
          <a:xfrm>
            <a:off x="8013055" y="1987000"/>
            <a:ext cx="36630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/>
              <a:t>LR MICROSILVER PLUS </a:t>
            </a:r>
            <a:endParaRPr lang="en-GB" sz="1600" b="1" dirty="0" smtClean="0"/>
          </a:p>
          <a:p>
            <a:pPr algn="ctr"/>
            <a:r>
              <a:rPr lang="en-GB" sz="1600" b="1" dirty="0" smtClean="0"/>
              <a:t>Gel de </a:t>
            </a:r>
            <a:r>
              <a:rPr lang="en-GB" sz="1600" b="1" dirty="0" err="1" smtClean="0"/>
              <a:t>mãos</a:t>
            </a:r>
            <a:endParaRPr lang="en-GB" sz="1600" b="1" dirty="0"/>
          </a:p>
        </p:txBody>
      </p:sp>
      <p:sp>
        <p:nvSpPr>
          <p:cNvPr id="8" name="Rechteck 7"/>
          <p:cNvSpPr/>
          <p:nvPr/>
        </p:nvSpPr>
        <p:spPr>
          <a:xfrm>
            <a:off x="518996" y="3818705"/>
            <a:ext cx="343070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pt-PT" sz="2000" dirty="0" smtClean="0"/>
              <a:t>A sua </a:t>
            </a:r>
            <a:r>
              <a:rPr lang="pt-PT" sz="2000" dirty="0"/>
              <a:t>composição à base de álcool significa que tem </a:t>
            </a:r>
            <a:r>
              <a:rPr lang="pt-PT" sz="2000" dirty="0" err="1"/>
              <a:t>ação</a:t>
            </a:r>
            <a:r>
              <a:rPr lang="pt-PT" sz="2000" dirty="0"/>
              <a:t> </a:t>
            </a:r>
            <a:r>
              <a:rPr lang="pt-PT" sz="2000" dirty="0" smtClean="0"/>
              <a:t>rápida</a:t>
            </a:r>
          </a:p>
          <a:p>
            <a:pPr marL="285750" indent="-285750">
              <a:buFontTx/>
              <a:buChar char="-"/>
            </a:pPr>
            <a:r>
              <a:rPr lang="pt-PT" sz="2000" dirty="0" smtClean="0"/>
              <a:t>O álcool </a:t>
            </a:r>
            <a:r>
              <a:rPr lang="pt-PT" sz="2000" dirty="0"/>
              <a:t>em combinação com </a:t>
            </a:r>
            <a:r>
              <a:rPr lang="pt-PT" sz="2000" dirty="0" smtClean="0"/>
              <a:t>a glicerina </a:t>
            </a:r>
            <a:r>
              <a:rPr lang="pt-PT" sz="2000" dirty="0"/>
              <a:t>permanece na pele por mais tempo</a:t>
            </a:r>
            <a:endParaRPr lang="en-GB" sz="2000" dirty="0"/>
          </a:p>
        </p:txBody>
      </p:sp>
      <p:sp>
        <p:nvSpPr>
          <p:cNvPr id="10" name="Rechteck 9"/>
          <p:cNvSpPr/>
          <p:nvPr/>
        </p:nvSpPr>
        <p:spPr>
          <a:xfrm>
            <a:off x="8128543" y="3883973"/>
            <a:ext cx="36407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pt-PT" sz="2000" dirty="0"/>
              <a:t>precisa de </a:t>
            </a:r>
            <a:r>
              <a:rPr lang="pt-PT" sz="2000" dirty="0" smtClean="0"/>
              <a:t>algum </a:t>
            </a:r>
            <a:r>
              <a:rPr lang="pt-PT" sz="2000" dirty="0"/>
              <a:t>tempo para ter efeito </a:t>
            </a:r>
            <a:r>
              <a:rPr lang="pt-PT" sz="2000" dirty="0" smtClean="0"/>
              <a:t>total </a:t>
            </a:r>
          </a:p>
          <a:p>
            <a:pPr marL="285750" indent="-285750">
              <a:buFontTx/>
              <a:buChar char="-"/>
            </a:pPr>
            <a:r>
              <a:rPr lang="pt-PT" sz="2000" dirty="0" smtClean="0"/>
              <a:t>mas a sua </a:t>
            </a:r>
            <a:r>
              <a:rPr lang="pt-PT" sz="2000" dirty="0" err="1"/>
              <a:t>proteção</a:t>
            </a:r>
            <a:r>
              <a:rPr lang="pt-PT" sz="2000" dirty="0"/>
              <a:t> </a:t>
            </a:r>
            <a:r>
              <a:rPr lang="pt-PT" sz="2000" dirty="0" smtClean="0"/>
              <a:t>fica </a:t>
            </a:r>
            <a:r>
              <a:rPr lang="pt-PT" sz="2000" dirty="0" err="1" smtClean="0"/>
              <a:t>ativa</a:t>
            </a:r>
            <a:r>
              <a:rPr lang="pt-PT" sz="2000" dirty="0" smtClean="0"/>
              <a:t> durante </a:t>
            </a:r>
            <a:r>
              <a:rPr lang="pt-PT" sz="2000" dirty="0"/>
              <a:t>mais tempo</a:t>
            </a:r>
            <a:endParaRPr lang="en-GB" sz="2000" dirty="0" smtClean="0"/>
          </a:p>
        </p:txBody>
      </p:sp>
      <p:sp>
        <p:nvSpPr>
          <p:cNvPr id="12" name="Textfeld 11"/>
          <p:cNvSpPr txBox="1"/>
          <p:nvPr/>
        </p:nvSpPr>
        <p:spPr>
          <a:xfrm>
            <a:off x="4540250" y="6103574"/>
            <a:ext cx="1428750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sz="2000" b="1" dirty="0" smtClean="0"/>
              <a:t>125 ml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6641480" y="6119855"/>
            <a:ext cx="981324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sz="2000" b="1" dirty="0" smtClean="0"/>
              <a:t>75 ml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10890235" y="5334069"/>
            <a:ext cx="785872" cy="1081835"/>
            <a:chOff x="9648825" y="738722"/>
            <a:chExt cx="838200" cy="1171576"/>
          </a:xfrm>
        </p:grpSpPr>
        <p:sp>
          <p:nvSpPr>
            <p:cNvPr id="29" name="Rechteck 28"/>
            <p:cNvSpPr/>
            <p:nvPr/>
          </p:nvSpPr>
          <p:spPr>
            <a:xfrm>
              <a:off x="9648825" y="738722"/>
              <a:ext cx="838200" cy="11715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endParaRPr lang="de-DE" sz="1725" dirty="0"/>
            </a:p>
          </p:txBody>
        </p:sp>
        <p:pic>
          <p:nvPicPr>
            <p:cNvPr id="30" name="Picture 4" descr="C:\Users\Kremser\Desktop\MadeinGermany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4462" y="1153519"/>
              <a:ext cx="744938" cy="744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8312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30008" y="3174"/>
            <a:ext cx="12222005" cy="6854825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-30008" y="-39240"/>
            <a:ext cx="12222008" cy="7420135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" name="Rechteck 3"/>
          <p:cNvSpPr/>
          <p:nvPr/>
        </p:nvSpPr>
        <p:spPr>
          <a:xfrm>
            <a:off x="406702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pic>
        <p:nvPicPr>
          <p:cNvPr id="28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153" y="1390790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684" y="1392167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833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518160" cy="1025922"/>
          </a:xfrm>
        </p:spPr>
        <p:txBody>
          <a:bodyPr/>
          <a:lstStyle/>
          <a:p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 NOVO LR PROTECTION</a:t>
            </a:r>
            <a:r>
              <a:rPr dirty="0"/>
              <a:t/>
            </a:r>
            <a:br>
              <a:rPr dirty="0"/>
            </a:b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RAY DE MÃOS HIDROALCOÓLICO</a:t>
            </a:r>
            <a:endParaRPr lang="en-GB" b="1" i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12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61" b="21025"/>
          <a:stretch/>
        </p:blipFill>
        <p:spPr>
          <a:xfrm rot="10800000" flipV="1">
            <a:off x="3343473" y="1137375"/>
            <a:ext cx="5045989" cy="3104067"/>
          </a:xfrm>
          <a:prstGeom prst="rect">
            <a:avLst/>
          </a:prstGeom>
        </p:spPr>
      </p:pic>
      <p:pic>
        <p:nvPicPr>
          <p:cNvPr id="37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2937" y="583982"/>
            <a:ext cx="682815" cy="734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1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6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716" y="1474410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295" y="1474410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925" y="1559516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hteck 5"/>
          <p:cNvSpPr/>
          <p:nvPr/>
        </p:nvSpPr>
        <p:spPr>
          <a:xfrm>
            <a:off x="3769835" y="4418461"/>
            <a:ext cx="379611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 smtClean="0"/>
              <a:t>28,50€ </a:t>
            </a:r>
            <a:r>
              <a:rPr lang="en-GB" sz="1400" b="1" dirty="0" smtClean="0"/>
              <a:t>(9,50€/</a:t>
            </a:r>
            <a:r>
              <a:rPr lang="en-GB" sz="1400" b="1" dirty="0" err="1" smtClean="0"/>
              <a:t>unid</a:t>
            </a:r>
            <a:r>
              <a:rPr lang="en-GB" sz="1400" b="1" dirty="0" smtClean="0"/>
              <a:t>)</a:t>
            </a:r>
          </a:p>
          <a:p>
            <a:pPr algn="ctr"/>
            <a:r>
              <a:rPr lang="en-GB" sz="2400" dirty="0" smtClean="0"/>
              <a:t>125 ml </a:t>
            </a:r>
            <a:endParaRPr lang="en-GB" sz="2400" dirty="0"/>
          </a:p>
          <a:p>
            <a:pPr algn="ctr"/>
            <a:r>
              <a:rPr lang="en-GB" sz="2400" dirty="0" smtClean="0"/>
              <a:t>PTS 35 </a:t>
            </a:r>
            <a:r>
              <a:rPr lang="en-GB" sz="2400" dirty="0"/>
              <a:t>| </a:t>
            </a:r>
            <a:r>
              <a:rPr lang="en-GB" sz="2400" dirty="0" smtClean="0"/>
              <a:t>VN 19,48</a:t>
            </a:r>
          </a:p>
          <a:p>
            <a:pPr algn="ctr"/>
            <a:r>
              <a:rPr lang="en-GB" sz="2400" dirty="0" smtClean="0"/>
              <a:t>PVP 39,90€</a:t>
            </a:r>
            <a:endParaRPr lang="en-GB" sz="2400" dirty="0"/>
          </a:p>
          <a:p>
            <a:pPr algn="ctr"/>
            <a:r>
              <a:rPr lang="en-GB" sz="2400" dirty="0" smtClean="0"/>
              <a:t>Art. no. 24001</a:t>
            </a:r>
            <a:endParaRPr lang="en-GB" sz="2400" dirty="0"/>
          </a:p>
        </p:txBody>
      </p:sp>
      <p:sp>
        <p:nvSpPr>
          <p:cNvPr id="21" name="Ellipse 29"/>
          <p:cNvSpPr/>
          <p:nvPr/>
        </p:nvSpPr>
        <p:spPr>
          <a:xfrm>
            <a:off x="5999817" y="1559516"/>
            <a:ext cx="1962578" cy="1159890"/>
          </a:xfrm>
          <a:prstGeom prst="ellipse">
            <a:avLst/>
          </a:prstGeom>
          <a:solidFill>
            <a:srgbClr val="003366"/>
          </a:solidFill>
          <a:ln w="76200">
            <a:solidFill>
              <a:srgbClr val="003366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2" name="Textfeld 32"/>
          <p:cNvSpPr txBox="1"/>
          <p:nvPr/>
        </p:nvSpPr>
        <p:spPr>
          <a:xfrm>
            <a:off x="5866467" y="1726165"/>
            <a:ext cx="220930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500" b="1" dirty="0" smtClean="0">
                <a:solidFill>
                  <a:schemeClr val="bg1"/>
                </a:solidFill>
              </a:rPr>
              <a:t>Pack de 3</a:t>
            </a:r>
          </a:p>
          <a:p>
            <a:pPr algn="ctr"/>
            <a:r>
              <a:rPr lang="de-DE" sz="2500" b="1" dirty="0" smtClean="0">
                <a:solidFill>
                  <a:schemeClr val="bg1"/>
                </a:solidFill>
              </a:rPr>
              <a:t>- 16%  </a:t>
            </a:r>
          </a:p>
        </p:txBody>
      </p:sp>
      <p:pic>
        <p:nvPicPr>
          <p:cNvPr id="23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099" y="1390790"/>
            <a:ext cx="1425086" cy="31293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hteck 5"/>
          <p:cNvSpPr/>
          <p:nvPr/>
        </p:nvSpPr>
        <p:spPr>
          <a:xfrm>
            <a:off x="406702" y="4418461"/>
            <a:ext cx="379611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 smtClean="0"/>
              <a:t>11,40€</a:t>
            </a:r>
          </a:p>
          <a:p>
            <a:pPr algn="ctr"/>
            <a:r>
              <a:rPr lang="en-GB" sz="2400" dirty="0" smtClean="0"/>
              <a:t>125 ml </a:t>
            </a:r>
            <a:endParaRPr lang="en-GB" sz="2400" dirty="0"/>
          </a:p>
          <a:p>
            <a:pPr algn="ctr"/>
            <a:r>
              <a:rPr lang="en-GB" sz="2400" dirty="0" smtClean="0"/>
              <a:t>PTS </a:t>
            </a:r>
            <a:r>
              <a:rPr lang="en-GB" sz="2400" dirty="0"/>
              <a:t>15 | </a:t>
            </a:r>
            <a:r>
              <a:rPr lang="en-GB" sz="2400" dirty="0" smtClean="0"/>
              <a:t>VN 8,43</a:t>
            </a:r>
          </a:p>
          <a:p>
            <a:pPr algn="ctr"/>
            <a:r>
              <a:rPr lang="en-GB" sz="2400" dirty="0" smtClean="0"/>
              <a:t>PVP 15,90€</a:t>
            </a:r>
            <a:endParaRPr lang="en-GB" sz="2400" dirty="0"/>
          </a:p>
          <a:p>
            <a:pPr algn="ctr"/>
            <a:r>
              <a:rPr lang="en-GB" sz="2400" dirty="0" smtClean="0"/>
              <a:t>Art. no. 24000</a:t>
            </a:r>
            <a:endParaRPr lang="en-GB" sz="2600" dirty="0"/>
          </a:p>
        </p:txBody>
      </p:sp>
      <p:pic>
        <p:nvPicPr>
          <p:cNvPr id="25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8609" y="1559516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188" y="1559516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Grafik 6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5818" y="1644622"/>
            <a:ext cx="1348927" cy="29621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Rechteck 5"/>
          <p:cNvSpPr/>
          <p:nvPr/>
        </p:nvSpPr>
        <p:spPr>
          <a:xfrm>
            <a:off x="8002223" y="4532695"/>
            <a:ext cx="379611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 smtClean="0"/>
              <a:t>44,90€ </a:t>
            </a:r>
            <a:r>
              <a:rPr lang="en-GB" sz="1400" b="1" dirty="0" smtClean="0"/>
              <a:t>(8,98€/</a:t>
            </a:r>
            <a:r>
              <a:rPr lang="en-GB" sz="1400" b="1" dirty="0" err="1" smtClean="0"/>
              <a:t>unid</a:t>
            </a:r>
            <a:r>
              <a:rPr lang="en-GB" sz="1400" b="1" dirty="0" smtClean="0"/>
              <a:t>)</a:t>
            </a:r>
          </a:p>
          <a:p>
            <a:pPr algn="ctr"/>
            <a:r>
              <a:rPr lang="en-GB" sz="2400" dirty="0" smtClean="0"/>
              <a:t>125 ml </a:t>
            </a:r>
            <a:endParaRPr lang="en-GB" sz="2400" dirty="0"/>
          </a:p>
          <a:p>
            <a:pPr algn="ctr"/>
            <a:r>
              <a:rPr lang="en-GB" sz="2400" dirty="0" smtClean="0"/>
              <a:t>PTS 52 </a:t>
            </a:r>
            <a:r>
              <a:rPr lang="en-GB" sz="2400" dirty="0"/>
              <a:t>| </a:t>
            </a:r>
            <a:r>
              <a:rPr lang="en-GB" sz="2400" dirty="0" smtClean="0"/>
              <a:t>VN 28,66</a:t>
            </a:r>
          </a:p>
          <a:p>
            <a:pPr algn="ctr"/>
            <a:r>
              <a:rPr lang="en-GB" sz="2400" dirty="0" smtClean="0"/>
              <a:t>PVP 62,90€</a:t>
            </a:r>
            <a:endParaRPr lang="en-GB" sz="2400" dirty="0"/>
          </a:p>
          <a:p>
            <a:pPr algn="ctr"/>
            <a:r>
              <a:rPr lang="en-GB" sz="2400" dirty="0" smtClean="0"/>
              <a:t>Art. no. 24002</a:t>
            </a:r>
            <a:endParaRPr lang="en-GB" sz="2400" dirty="0"/>
          </a:p>
        </p:txBody>
      </p:sp>
      <p:sp>
        <p:nvSpPr>
          <p:cNvPr id="31" name="Ellipse 29"/>
          <p:cNvSpPr/>
          <p:nvPr/>
        </p:nvSpPr>
        <p:spPr>
          <a:xfrm>
            <a:off x="10147843" y="1503988"/>
            <a:ext cx="1962578" cy="1159890"/>
          </a:xfrm>
          <a:prstGeom prst="ellipse">
            <a:avLst/>
          </a:prstGeom>
          <a:solidFill>
            <a:srgbClr val="003366"/>
          </a:solidFill>
          <a:ln w="76200">
            <a:solidFill>
              <a:srgbClr val="003366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32" name="Textfeld 32"/>
          <p:cNvSpPr txBox="1"/>
          <p:nvPr/>
        </p:nvSpPr>
        <p:spPr>
          <a:xfrm>
            <a:off x="10014493" y="1670637"/>
            <a:ext cx="220930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2500" b="1" dirty="0" smtClean="0">
                <a:solidFill>
                  <a:schemeClr val="bg1"/>
                </a:solidFill>
              </a:rPr>
              <a:t>Pack de </a:t>
            </a:r>
            <a:r>
              <a:rPr lang="de-DE" sz="2500" b="1" dirty="0" smtClean="0">
                <a:solidFill>
                  <a:schemeClr val="bg1"/>
                </a:solidFill>
              </a:rPr>
              <a:t>5</a:t>
            </a:r>
            <a:endParaRPr lang="de-DE" sz="2500" b="1" dirty="0" smtClean="0">
              <a:solidFill>
                <a:schemeClr val="bg1"/>
              </a:solidFill>
            </a:endParaRPr>
          </a:p>
          <a:p>
            <a:pPr algn="ctr"/>
            <a:r>
              <a:rPr lang="de-DE" sz="2500" b="1" dirty="0" smtClean="0">
                <a:solidFill>
                  <a:schemeClr val="bg1"/>
                </a:solidFill>
              </a:rPr>
              <a:t>- 21%  </a:t>
            </a:r>
          </a:p>
        </p:txBody>
      </p:sp>
    </p:spTree>
    <p:extLst>
      <p:ext uri="{BB962C8B-B14F-4D97-AF65-F5344CB8AC3E}">
        <p14:creationId xmlns:p14="http://schemas.microsoft.com/office/powerpoint/2010/main" val="141817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947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621509" y="2377659"/>
            <a:ext cx="9239474" cy="2122056"/>
          </a:xfrm>
        </p:spPr>
        <p:txBody>
          <a:bodyPr/>
          <a:lstStyle/>
          <a:p>
            <a:pPr algn="ctr"/>
            <a:r>
              <a:rPr lang="en-GB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teja</a:t>
            </a:r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se a </a:t>
            </a:r>
            <a:r>
              <a:rPr lang="en-GB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</a:t>
            </a:r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 </a:t>
            </a:r>
            <a:r>
              <a:rPr lang="en-GB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àqueles</a:t>
            </a:r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que o/a </a:t>
            </a:r>
            <a:r>
              <a:rPr lang="en-GB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deiam</a:t>
            </a:r>
            <a:endParaRPr lang="en-GB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359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30008" y="3174"/>
            <a:ext cx="12222005" cy="6854825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-30009" y="-39240"/>
            <a:ext cx="12222009" cy="7420135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38" name="Rechteck 37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2767265" flipV="1">
            <a:off x="-1593317" y="2178137"/>
            <a:ext cx="11763988" cy="7140758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939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3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759040" cy="1025922"/>
          </a:xfrm>
        </p:spPr>
        <p:txBody>
          <a:bodyPr/>
          <a:lstStyle/>
          <a:p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terial </a:t>
            </a:r>
            <a:r>
              <a:rPr lang="en-GB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sponível</a:t>
            </a: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ara </a:t>
            </a:r>
            <a:r>
              <a:rPr lang="en-GB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vulgação</a:t>
            </a:r>
            <a:r>
              <a:rPr dirty="0"/>
              <a:t/>
            </a:r>
            <a:br>
              <a:rPr dirty="0"/>
            </a:b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14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1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6" name="Rechteck 11"/>
          <p:cNvSpPr/>
          <p:nvPr/>
        </p:nvSpPr>
        <p:spPr>
          <a:xfrm>
            <a:off x="2705964" y="2289276"/>
            <a:ext cx="3165428" cy="1510622"/>
          </a:xfrm>
          <a:prstGeom prst="rect">
            <a:avLst/>
          </a:prstGeom>
          <a:solidFill>
            <a:srgbClr val="CDE0E5"/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76" tIns="45688" rIns="91376" bIns="45688" rtlCol="0" anchor="ctr"/>
          <a:lstStyle/>
          <a:p>
            <a:pPr algn="ctr" defTabSz="913916"/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204569" y="4035635"/>
            <a:ext cx="3165427" cy="1510623"/>
          </a:xfrm>
          <a:prstGeom prst="rect">
            <a:avLst/>
          </a:prstGeom>
          <a:solidFill>
            <a:srgbClr val="CDE0E5"/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76" tIns="45688" rIns="91376" bIns="45688" rtlCol="0" anchor="ctr"/>
          <a:lstStyle/>
          <a:p>
            <a:pPr algn="ctr" defTabSz="913916"/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804701" y="4044839"/>
            <a:ext cx="3154975" cy="1510623"/>
          </a:xfrm>
          <a:prstGeom prst="rect">
            <a:avLst/>
          </a:prstGeom>
          <a:solidFill>
            <a:srgbClr val="CDE0E5"/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76" tIns="45688" rIns="91376" bIns="45688" rtlCol="0" anchor="ctr"/>
          <a:lstStyle/>
          <a:p>
            <a:pPr algn="ctr" defTabSz="913916"/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804700" y="4598587"/>
            <a:ext cx="315497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916"/>
            <a:r>
              <a:rPr lang="en-GB" sz="2500" b="1" dirty="0" smtClean="0">
                <a:solidFill>
                  <a:prstClr val="black"/>
                </a:solidFill>
              </a:rPr>
              <a:t>NEWSLETTERS</a:t>
            </a:r>
            <a:endParaRPr lang="en-GB" sz="2500" b="1" dirty="0">
              <a:solidFill>
                <a:prstClr val="black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2705964" y="2640376"/>
            <a:ext cx="3165428" cy="390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2500" b="1" dirty="0" err="1" smtClean="0"/>
              <a:t>Redes</a:t>
            </a:r>
            <a:r>
              <a:rPr lang="en-GB" sz="2500" b="1" dirty="0"/>
              <a:t> </a:t>
            </a:r>
            <a:r>
              <a:rPr lang="en-GB" sz="2500" b="1" dirty="0" err="1" smtClean="0"/>
              <a:t>Sociais</a:t>
            </a:r>
            <a:endParaRPr lang="en-GB" sz="2500" b="1" dirty="0" smtClean="0"/>
          </a:p>
        </p:txBody>
      </p:sp>
      <p:sp>
        <p:nvSpPr>
          <p:cNvPr id="30" name="Textfeld 29"/>
          <p:cNvSpPr txBox="1"/>
          <p:nvPr/>
        </p:nvSpPr>
        <p:spPr>
          <a:xfrm>
            <a:off x="4204568" y="4598585"/>
            <a:ext cx="3154975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916"/>
            <a:r>
              <a:rPr lang="en-GB" sz="2500" b="1" dirty="0" smtClean="0">
                <a:solidFill>
                  <a:prstClr val="black"/>
                </a:solidFill>
              </a:rPr>
              <a:t>LR-SHOP.PT</a:t>
            </a:r>
            <a:endParaRPr lang="en-GB" sz="2500" b="1" dirty="0">
              <a:solidFill>
                <a:prstClr val="black"/>
              </a:solidFill>
            </a:endParaRPr>
          </a:p>
        </p:txBody>
      </p:sp>
      <p:sp>
        <p:nvSpPr>
          <p:cNvPr id="31" name="Rechteck 11"/>
          <p:cNvSpPr/>
          <p:nvPr/>
        </p:nvSpPr>
        <p:spPr>
          <a:xfrm>
            <a:off x="9012249" y="2275492"/>
            <a:ext cx="2737509" cy="1510623"/>
          </a:xfrm>
          <a:prstGeom prst="rect">
            <a:avLst/>
          </a:prstGeom>
          <a:solidFill>
            <a:srgbClr val="CDE0E5"/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76" tIns="45688" rIns="91376" bIns="45688" rtlCol="0" anchor="ctr"/>
          <a:lstStyle/>
          <a:p>
            <a:pPr algn="ctr" defTabSz="913916"/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9012249" y="2773696"/>
            <a:ext cx="2749640" cy="4231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2500" b="1" dirty="0" smtClean="0"/>
              <a:t>FAQs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9839" y="3166579"/>
            <a:ext cx="520320" cy="508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464" y="3120053"/>
            <a:ext cx="1085850" cy="570071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 rot="21182560">
            <a:off x="95688" y="2432990"/>
            <a:ext cx="2735973" cy="1611847"/>
          </a:xfrm>
          <a:prstGeom prst="ellipse">
            <a:avLst/>
          </a:prstGeom>
          <a:solidFill>
            <a:srgbClr val="003366"/>
          </a:solidFill>
          <a:ln w="76200">
            <a:solidFill>
              <a:srgbClr val="003366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0" name="Textfeld 9"/>
          <p:cNvSpPr txBox="1"/>
          <p:nvPr/>
        </p:nvSpPr>
        <p:spPr>
          <a:xfrm rot="21182560">
            <a:off x="3175" y="2767454"/>
            <a:ext cx="29210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b="1" dirty="0" err="1" smtClean="0">
                <a:solidFill>
                  <a:schemeClr val="bg1"/>
                </a:solidFill>
              </a:rPr>
              <a:t>Atenção</a:t>
            </a:r>
            <a:r>
              <a:rPr lang="en-GB" sz="28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GB" sz="2800" b="1" dirty="0" err="1" smtClean="0">
                <a:solidFill>
                  <a:schemeClr val="bg1"/>
                </a:solidFill>
              </a:rPr>
              <a:t>Máxima</a:t>
            </a:r>
            <a:endParaRPr lang="en-GB" sz="2800" b="1" dirty="0">
              <a:solidFill>
                <a:schemeClr val="bg1"/>
              </a:solidFill>
            </a:endParaRPr>
          </a:p>
        </p:txBody>
      </p:sp>
      <p:sp>
        <p:nvSpPr>
          <p:cNvPr id="25" name="Ellipse 24"/>
          <p:cNvSpPr/>
          <p:nvPr/>
        </p:nvSpPr>
        <p:spPr>
          <a:xfrm rot="511200">
            <a:off x="9314475" y="3592276"/>
            <a:ext cx="2735973" cy="1611847"/>
          </a:xfrm>
          <a:prstGeom prst="ellipse">
            <a:avLst/>
          </a:prstGeom>
          <a:solidFill>
            <a:srgbClr val="003366"/>
          </a:solidFill>
          <a:ln w="76200">
            <a:solidFill>
              <a:srgbClr val="003366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6" name="Textfeld 25"/>
          <p:cNvSpPr txBox="1"/>
          <p:nvPr/>
        </p:nvSpPr>
        <p:spPr>
          <a:xfrm rot="511200">
            <a:off x="9204272" y="4090422"/>
            <a:ext cx="2921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Informações </a:t>
            </a:r>
            <a:r>
              <a:rPr lang="en-GB" sz="2000" b="1" dirty="0" err="1" smtClean="0">
                <a:solidFill>
                  <a:schemeClr val="bg1"/>
                </a:solidFill>
              </a:rPr>
              <a:t>sobre</a:t>
            </a:r>
            <a:r>
              <a:rPr lang="en-GB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GB" sz="2000" b="1" dirty="0" smtClean="0">
                <a:solidFill>
                  <a:schemeClr val="bg1"/>
                </a:solidFill>
              </a:rPr>
              <a:t>o </a:t>
            </a:r>
            <a:r>
              <a:rPr lang="en-GB" sz="2000" b="1" dirty="0" err="1" smtClean="0">
                <a:solidFill>
                  <a:schemeClr val="bg1"/>
                </a:solidFill>
              </a:rPr>
              <a:t>produto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7" name="Rechteck 11"/>
          <p:cNvSpPr/>
          <p:nvPr/>
        </p:nvSpPr>
        <p:spPr>
          <a:xfrm>
            <a:off x="6080994" y="2273219"/>
            <a:ext cx="2737509" cy="1510623"/>
          </a:xfrm>
          <a:prstGeom prst="rect">
            <a:avLst/>
          </a:prstGeom>
          <a:solidFill>
            <a:srgbClr val="CDE0E5"/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76" tIns="45688" rIns="91376" bIns="45688" rtlCol="0" anchor="ctr"/>
          <a:lstStyle/>
          <a:p>
            <a:pPr algn="ctr" defTabSz="913916"/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33" name="Textfeld 28"/>
          <p:cNvSpPr txBox="1"/>
          <p:nvPr/>
        </p:nvSpPr>
        <p:spPr>
          <a:xfrm>
            <a:off x="6082279" y="2658997"/>
            <a:ext cx="2749640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2500" b="1" dirty="0" err="1" smtClean="0"/>
              <a:t>Vídeos</a:t>
            </a:r>
            <a:r>
              <a:rPr lang="en-GB" sz="2500" b="1" dirty="0" smtClean="0"/>
              <a:t> </a:t>
            </a:r>
          </a:p>
          <a:p>
            <a:pPr algn="ctr">
              <a:lnSpc>
                <a:spcPct val="110000"/>
              </a:lnSpc>
            </a:pPr>
            <a:r>
              <a:rPr lang="en-GB" sz="2500" b="1" dirty="0" smtClean="0"/>
              <a:t>e imagens</a:t>
            </a:r>
          </a:p>
        </p:txBody>
      </p:sp>
    </p:spTree>
    <p:extLst>
      <p:ext uri="{BB962C8B-B14F-4D97-AF65-F5344CB8AC3E}">
        <p14:creationId xmlns:p14="http://schemas.microsoft.com/office/powerpoint/2010/main" val="142491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3D3E3649-D207-4F00-B890-234181CEC4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1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850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" t="140" b="1"/>
          <a:stretch/>
        </p:blipFill>
        <p:spPr>
          <a:xfrm>
            <a:off x="-1589" y="3176"/>
            <a:ext cx="12190413" cy="6854824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956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0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2</a:t>
            </a:fld>
            <a:endParaRPr lang="de-DE" sz="11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-1589" y="670375"/>
            <a:ext cx="12188824" cy="14318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S PUXADORES, OBJETOS PARTILHADOS OU EM CUMPRIMENTO DE MÃOS</a:t>
            </a:r>
            <a:r>
              <a:rPr lang="en-GB" sz="44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4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  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-1589" y="5653682"/>
            <a:ext cx="12185649" cy="687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4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.. </a:t>
            </a:r>
            <a:r>
              <a:rPr lang="en-GB" sz="44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S GERMES ESTÃO EM TODO O LADO!</a:t>
            </a:r>
            <a:endParaRPr lang="en-GB" sz="4400" b="1" cap="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176" y="2693987"/>
            <a:ext cx="12188824" cy="273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9332" y="2896726"/>
            <a:ext cx="3853662" cy="23628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27548" y="2898942"/>
            <a:ext cx="3773952" cy="23393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521" b="3607"/>
          <a:stretch/>
        </p:blipFill>
        <p:spPr>
          <a:xfrm>
            <a:off x="158750" y="2887201"/>
            <a:ext cx="3853662" cy="23628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151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-123825"/>
            <a:ext cx="12192000" cy="6981825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0" y="-178285"/>
            <a:ext cx="12192000" cy="7131535"/>
          </a:xfrm>
          <a:prstGeom prst="rect">
            <a:avLst/>
          </a:prstGeom>
          <a:solidFill>
            <a:srgbClr val="FFFF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0841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4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3</a:t>
            </a:fld>
            <a:endParaRPr lang="de-DE" sz="11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176" y="3401462"/>
            <a:ext cx="12195177" cy="19636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58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ISSO A HIGIENE DAS MÃOS É TÃO IMPORTANTE!</a:t>
            </a:r>
            <a:endParaRPr lang="en-GB" sz="5800" b="1" cap="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="" xmlns:a16="http://schemas.microsoft.com/office/drawing/2014/main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13" name="Freihandform: Form 44">
              <a:extLst>
                <a:ext uri="{FF2B5EF4-FFF2-40B4-BE49-F238E27FC236}">
                  <a16:creationId xmlns="" xmlns:a16="http://schemas.microsoft.com/office/drawing/2014/main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43">
              <a:extLst>
                <a:ext uri="{FF2B5EF4-FFF2-40B4-BE49-F238E27FC236}">
                  <a16:creationId xmlns="" xmlns:a16="http://schemas.microsoft.com/office/drawing/2014/main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62399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-123825"/>
            <a:ext cx="12192000" cy="6981825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0" y="-178285"/>
            <a:ext cx="12192000" cy="7131535"/>
          </a:xfrm>
          <a:prstGeom prst="rect">
            <a:avLst/>
          </a:prstGeom>
          <a:solidFill>
            <a:srgbClr val="FFFF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705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4</a:t>
            </a:fld>
            <a:endParaRPr lang="de-DE" sz="11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176" y="3556194"/>
            <a:ext cx="12231689" cy="2945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58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S LAVAR AS MÃOS COM REGULARIDADE PODE </a:t>
            </a:r>
          </a:p>
          <a:p>
            <a:pPr algn="ctr">
              <a:lnSpc>
                <a:spcPct val="110000"/>
              </a:lnSpc>
            </a:pPr>
            <a:r>
              <a:rPr lang="en-GB" sz="58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AR A PELE</a:t>
            </a:r>
            <a:r>
              <a:rPr lang="en-GB" sz="5800" b="1" cap="all" dirty="0" smtClean="0"/>
              <a:t>.</a:t>
            </a:r>
            <a:endParaRPr lang="en-GB" sz="5800" b="1" cap="all" dirty="0"/>
          </a:p>
        </p:txBody>
      </p:sp>
      <p:grpSp>
        <p:nvGrpSpPr>
          <p:cNvPr id="12" name="Gruppieren 11">
            <a:extLst>
              <a:ext uri="{FF2B5EF4-FFF2-40B4-BE49-F238E27FC236}">
                <a16:creationId xmlns="" xmlns:a16="http://schemas.microsoft.com/office/drawing/2014/main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13" name="Freihandform: Form 44">
              <a:extLst>
                <a:ext uri="{FF2B5EF4-FFF2-40B4-BE49-F238E27FC236}">
                  <a16:creationId xmlns="" xmlns:a16="http://schemas.microsoft.com/office/drawing/2014/main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43">
              <a:extLst>
                <a:ext uri="{FF2B5EF4-FFF2-40B4-BE49-F238E27FC236}">
                  <a16:creationId xmlns="" xmlns:a16="http://schemas.microsoft.com/office/drawing/2014/main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0926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41" t="-10888"/>
          <a:stretch/>
        </p:blipFill>
        <p:spPr>
          <a:xfrm>
            <a:off x="-76201" y="-1002910"/>
            <a:ext cx="12457717" cy="9118209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-30008" y="-114300"/>
            <a:ext cx="12411524" cy="7495196"/>
          </a:xfrm>
          <a:prstGeom prst="rect">
            <a:avLst/>
          </a:prstGeom>
          <a:solidFill>
            <a:srgbClr val="FFFFFF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278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5</a:t>
            </a:fld>
            <a:endParaRPr lang="de-DE" sz="11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176" y="2290208"/>
            <a:ext cx="12378339" cy="28692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GB" sz="58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TEJA AS SUAS MÃOS COM UM CUIDADO HIGIÉNICO </a:t>
            </a:r>
          </a:p>
          <a:p>
            <a:pPr algn="ctr">
              <a:lnSpc>
                <a:spcPct val="110000"/>
              </a:lnSpc>
            </a:pPr>
            <a:r>
              <a:rPr lang="en-GB" sz="58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AVE E EFICAZ. </a:t>
            </a:r>
            <a:endParaRPr lang="en-GB" sz="5800" b="1" cap="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="" xmlns:a16="http://schemas.microsoft.com/office/drawing/2014/main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13" name="Freihandform: Form 44">
              <a:extLst>
                <a:ext uri="{FF2B5EF4-FFF2-40B4-BE49-F238E27FC236}">
                  <a16:creationId xmlns="" xmlns:a16="http://schemas.microsoft.com/office/drawing/2014/main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43">
              <a:extLst>
                <a:ext uri="{FF2B5EF4-FFF2-40B4-BE49-F238E27FC236}">
                  <a16:creationId xmlns="" xmlns:a16="http://schemas.microsoft.com/office/drawing/2014/main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4701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9790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790576" y="3889161"/>
            <a:ext cx="10677524" cy="711413"/>
          </a:xfrm>
        </p:spPr>
        <p:txBody>
          <a:bodyPr/>
          <a:lstStyle/>
          <a:p>
            <a:r>
              <a:rPr lang="en-GB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LR TEM A SOLUÇÃO</a:t>
            </a:r>
            <a:endParaRPr lang="en-GB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536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30008" y="3174"/>
            <a:ext cx="12222005" cy="6854825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-30008" y="-39240"/>
            <a:ext cx="12222008" cy="7420135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" name="Rechteck 3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62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518160" cy="1025922"/>
          </a:xfrm>
        </p:spPr>
        <p:txBody>
          <a:bodyPr/>
          <a:lstStyle/>
          <a:p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 NOVO LR PROTECTION</a:t>
            </a:r>
            <a:r>
              <a:rPr dirty="0"/>
              <a:t/>
            </a:r>
            <a:br>
              <a:rPr dirty="0"/>
            </a:b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RAY DE MÃOS HIDROALCOÓLICO</a:t>
            </a:r>
            <a:endParaRPr lang="en-GB" b="1" i="1" baseline="3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7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61" b="21025"/>
          <a:stretch/>
        </p:blipFill>
        <p:spPr>
          <a:xfrm rot="10800000" flipV="1">
            <a:off x="947054" y="1218551"/>
            <a:ext cx="9167521" cy="5639449"/>
          </a:xfrm>
          <a:prstGeom prst="rect">
            <a:avLst/>
          </a:prstGeom>
        </p:spPr>
      </p:pic>
      <p:pic>
        <p:nvPicPr>
          <p:cNvPr id="37" name="Picture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4575" y="5059226"/>
            <a:ext cx="1141357" cy="1228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Grafik 6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98" y="1471822"/>
            <a:ext cx="2450723" cy="53816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1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5995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30008" y="3174"/>
            <a:ext cx="12222005" cy="6854825"/>
          </a:xfrm>
          <a:prstGeom prst="rect">
            <a:avLst/>
          </a:prstGeom>
        </p:spPr>
      </p:pic>
      <p:sp>
        <p:nvSpPr>
          <p:cNvPr id="39" name="Rechteck 38"/>
          <p:cNvSpPr/>
          <p:nvPr/>
        </p:nvSpPr>
        <p:spPr>
          <a:xfrm>
            <a:off x="-30008" y="-39240"/>
            <a:ext cx="12385294" cy="7420135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" name="Rechteck 3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011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518160" cy="1025922"/>
          </a:xfrm>
        </p:spPr>
        <p:txBody>
          <a:bodyPr/>
          <a:lstStyle/>
          <a:p>
            <a:r>
              <a:rPr lang="pt-PT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duto de higiene </a:t>
            </a:r>
            <a:r>
              <a:rPr lang="pt-PT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t-PT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PT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 </a:t>
            </a:r>
            <a:r>
              <a:rPr lang="pt-PT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elente tolerabilidade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8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53" b="21025"/>
          <a:stretch/>
        </p:blipFill>
        <p:spPr>
          <a:xfrm rot="10800000" flipV="1">
            <a:off x="-141515" y="1218551"/>
            <a:ext cx="9337837" cy="5639449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982354" y="1750055"/>
            <a:ext cx="6435451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4947125" y="1746314"/>
            <a:ext cx="6490598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900" dirty="0" err="1" smtClean="0"/>
              <a:t>Cuidado</a:t>
            </a:r>
            <a:r>
              <a:rPr lang="en-GB" sz="1900" dirty="0" smtClean="0"/>
              <a:t> </a:t>
            </a:r>
            <a:r>
              <a:rPr lang="en-GB" sz="1900" dirty="0" err="1" smtClean="0"/>
              <a:t>higiénico</a:t>
            </a:r>
            <a:r>
              <a:rPr lang="en-GB" sz="1900" dirty="0" smtClean="0"/>
              <a:t> para as </a:t>
            </a:r>
            <a:r>
              <a:rPr lang="en-GB" sz="1900" dirty="0" err="1" smtClean="0"/>
              <a:t>mãos</a:t>
            </a:r>
            <a:r>
              <a:rPr lang="en-GB" sz="1900" dirty="0" smtClean="0"/>
              <a:t> para </a:t>
            </a:r>
          </a:p>
          <a:p>
            <a:pPr algn="ctr"/>
            <a:r>
              <a:rPr lang="en-GB" sz="1900" dirty="0" err="1" smtClean="0"/>
              <a:t>proteção</a:t>
            </a:r>
            <a:r>
              <a:rPr lang="en-GB" sz="1900" dirty="0" smtClean="0"/>
              <a:t> contra </a:t>
            </a:r>
            <a:r>
              <a:rPr lang="en-GB" sz="1900" dirty="0" err="1" smtClean="0"/>
              <a:t>os</a:t>
            </a:r>
            <a:r>
              <a:rPr lang="en-GB" sz="1900" dirty="0" smtClean="0"/>
              <a:t> </a:t>
            </a:r>
            <a:r>
              <a:rPr lang="en-GB" sz="1900" dirty="0" err="1" smtClean="0"/>
              <a:t>germes</a:t>
            </a:r>
            <a:endParaRPr lang="en-GB" sz="1900" dirty="0" smtClean="0"/>
          </a:p>
        </p:txBody>
      </p:sp>
      <p:sp>
        <p:nvSpPr>
          <p:cNvPr id="38" name="Rechteck 37"/>
          <p:cNvSpPr/>
          <p:nvPr/>
        </p:nvSpPr>
        <p:spPr>
          <a:xfrm>
            <a:off x="5232136" y="2553728"/>
            <a:ext cx="5922612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2" name="Rechteck 41"/>
          <p:cNvSpPr/>
          <p:nvPr/>
        </p:nvSpPr>
        <p:spPr>
          <a:xfrm>
            <a:off x="5495194" y="4166946"/>
            <a:ext cx="5922612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1" name="Textfeld 20"/>
          <p:cNvSpPr txBox="1"/>
          <p:nvPr/>
        </p:nvSpPr>
        <p:spPr>
          <a:xfrm>
            <a:off x="5205003" y="2550865"/>
            <a:ext cx="5962025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GB" sz="1900" dirty="0" err="1" smtClean="0"/>
              <a:t>Limpa</a:t>
            </a:r>
            <a:r>
              <a:rPr lang="en-GB" sz="1900" dirty="0" smtClean="0"/>
              <a:t> as </a:t>
            </a:r>
            <a:r>
              <a:rPr lang="en-GB" sz="1900" dirty="0" err="1" smtClean="0"/>
              <a:t>mãos</a:t>
            </a:r>
            <a:r>
              <a:rPr lang="en-GB" sz="1900" dirty="0" smtClean="0"/>
              <a:t>, </a:t>
            </a:r>
            <a:r>
              <a:rPr lang="en-GB" sz="1900" dirty="0" err="1" smtClean="0"/>
              <a:t>sem</a:t>
            </a:r>
            <a:r>
              <a:rPr lang="en-GB" sz="1900" dirty="0" smtClean="0"/>
              <a:t> </a:t>
            </a:r>
            <a:r>
              <a:rPr lang="en-GB" sz="1900" dirty="0" err="1" smtClean="0"/>
              <a:t>necessidade</a:t>
            </a:r>
            <a:r>
              <a:rPr lang="en-GB" sz="1900" dirty="0" smtClean="0"/>
              <a:t> de </a:t>
            </a:r>
            <a:r>
              <a:rPr lang="en-GB" sz="1900" dirty="0" err="1" smtClean="0"/>
              <a:t>água</a:t>
            </a:r>
            <a:r>
              <a:rPr lang="en-GB" sz="1900" dirty="0" smtClean="0"/>
              <a:t> – </a:t>
            </a:r>
            <a:r>
              <a:rPr lang="en-GB" sz="1900" dirty="0" err="1" smtClean="0"/>
              <a:t>perfeito</a:t>
            </a:r>
            <a:r>
              <a:rPr lang="en-GB" sz="1900" dirty="0" smtClean="0"/>
              <a:t> para </a:t>
            </a:r>
            <a:r>
              <a:rPr lang="en-GB" sz="1900" dirty="0" err="1" smtClean="0"/>
              <a:t>levar</a:t>
            </a:r>
            <a:r>
              <a:rPr lang="en-GB" sz="1900" dirty="0" smtClean="0"/>
              <a:t> </a:t>
            </a:r>
            <a:r>
              <a:rPr lang="en-GB" sz="1900" dirty="0" err="1" smtClean="0"/>
              <a:t>sempre</a:t>
            </a:r>
            <a:r>
              <a:rPr lang="en-GB" sz="1900" dirty="0" smtClean="0"/>
              <a:t> </a:t>
            </a:r>
            <a:r>
              <a:rPr lang="en-GB" sz="1900" dirty="0" err="1" smtClean="0"/>
              <a:t>consigo</a:t>
            </a:r>
            <a:endParaRPr lang="en-GB" sz="1900" dirty="0"/>
          </a:p>
        </p:txBody>
      </p:sp>
      <p:sp>
        <p:nvSpPr>
          <p:cNvPr id="46" name="Rechteck 45"/>
          <p:cNvSpPr/>
          <p:nvPr/>
        </p:nvSpPr>
        <p:spPr>
          <a:xfrm>
            <a:off x="5212198" y="4936004"/>
            <a:ext cx="5922612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6" name="Textfeld 25"/>
          <p:cNvSpPr txBox="1"/>
          <p:nvPr/>
        </p:nvSpPr>
        <p:spPr>
          <a:xfrm>
            <a:off x="5535029" y="4282491"/>
            <a:ext cx="5882777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GB" sz="1900" dirty="0" err="1" smtClean="0"/>
              <a:t>Nutre</a:t>
            </a:r>
            <a:r>
              <a:rPr lang="en-GB" sz="1900" dirty="0" smtClean="0"/>
              <a:t> e </a:t>
            </a:r>
            <a:r>
              <a:rPr lang="en-GB" sz="1900" dirty="0" err="1" smtClean="0"/>
              <a:t>hidrata</a:t>
            </a:r>
            <a:r>
              <a:rPr lang="en-GB" sz="1900" dirty="0" smtClean="0"/>
              <a:t> a </a:t>
            </a:r>
            <a:r>
              <a:rPr lang="en-GB" sz="1900" dirty="0" err="1" smtClean="0"/>
              <a:t>pele</a:t>
            </a:r>
            <a:endParaRPr lang="en-GB" sz="1900" dirty="0" smtClean="0"/>
          </a:p>
        </p:txBody>
      </p:sp>
      <p:sp>
        <p:nvSpPr>
          <p:cNvPr id="50" name="Rechteck 49"/>
          <p:cNvSpPr/>
          <p:nvPr/>
        </p:nvSpPr>
        <p:spPr>
          <a:xfrm>
            <a:off x="4927207" y="5712522"/>
            <a:ext cx="5922612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36" name="Textfeld 35"/>
          <p:cNvSpPr txBox="1"/>
          <p:nvPr/>
        </p:nvSpPr>
        <p:spPr>
          <a:xfrm>
            <a:off x="5212344" y="5069933"/>
            <a:ext cx="5922612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GB" sz="1900" dirty="0" err="1" smtClean="0"/>
              <a:t>Seca</a:t>
            </a:r>
            <a:r>
              <a:rPr lang="en-GB" sz="1900" dirty="0" smtClean="0"/>
              <a:t> </a:t>
            </a:r>
            <a:r>
              <a:rPr lang="en-GB" sz="1900" dirty="0" err="1" smtClean="0"/>
              <a:t>rapidamente</a:t>
            </a:r>
            <a:r>
              <a:rPr lang="en-GB" sz="1900" dirty="0" smtClean="0"/>
              <a:t>, </a:t>
            </a:r>
            <a:r>
              <a:rPr lang="en-GB" sz="1900" dirty="0" err="1" smtClean="0"/>
              <a:t>sem</a:t>
            </a:r>
            <a:r>
              <a:rPr lang="en-GB" sz="1900" dirty="0" smtClean="0"/>
              <a:t> </a:t>
            </a:r>
            <a:r>
              <a:rPr lang="en-GB" sz="1900" dirty="0" err="1" smtClean="0"/>
              <a:t>colar</a:t>
            </a:r>
            <a:endParaRPr lang="en-GB" sz="1900" dirty="0"/>
          </a:p>
        </p:txBody>
      </p:sp>
      <p:pic>
        <p:nvPicPr>
          <p:cNvPr id="67" name="Grafik 6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870" y="1678144"/>
            <a:ext cx="2450723" cy="53816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1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44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51" y="2295738"/>
            <a:ext cx="948191" cy="102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feld 30"/>
          <p:cNvSpPr txBox="1"/>
          <p:nvPr/>
        </p:nvSpPr>
        <p:spPr>
          <a:xfrm>
            <a:off x="4998374" y="5694332"/>
            <a:ext cx="5848132" cy="5847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n-GB" sz="1900" dirty="0" err="1" smtClean="0"/>
              <a:t>Excelente</a:t>
            </a:r>
            <a:r>
              <a:rPr lang="en-GB" sz="1900" dirty="0" smtClean="0"/>
              <a:t> </a:t>
            </a:r>
            <a:r>
              <a:rPr lang="en-GB" sz="1900" dirty="0" err="1" smtClean="0"/>
              <a:t>torabilidade</a:t>
            </a:r>
            <a:r>
              <a:rPr lang="en-GB" sz="1900" dirty="0" smtClean="0"/>
              <a:t>, </a:t>
            </a:r>
            <a:r>
              <a:rPr lang="en-GB" sz="1900" dirty="0" err="1" smtClean="0"/>
              <a:t>mesmo</a:t>
            </a:r>
            <a:r>
              <a:rPr lang="en-GB" sz="1900" dirty="0" smtClean="0"/>
              <a:t> </a:t>
            </a:r>
          </a:p>
          <a:p>
            <a:pPr lvl="0" algn="ctr"/>
            <a:r>
              <a:rPr lang="en-GB" sz="1900" dirty="0" err="1" smtClean="0"/>
              <a:t>quando</a:t>
            </a:r>
            <a:r>
              <a:rPr lang="en-GB" sz="1900" dirty="0" smtClean="0"/>
              <a:t> </a:t>
            </a:r>
            <a:r>
              <a:rPr lang="en-GB" sz="1900" dirty="0" err="1" smtClean="0"/>
              <a:t>usado</a:t>
            </a:r>
            <a:r>
              <a:rPr lang="en-GB" sz="1900" dirty="0" smtClean="0"/>
              <a:t> a </a:t>
            </a:r>
            <a:r>
              <a:rPr lang="en-GB" sz="1900" dirty="0" err="1" smtClean="0"/>
              <a:t>longo</a:t>
            </a:r>
            <a:r>
              <a:rPr lang="en-GB" sz="1900" dirty="0" smtClean="0"/>
              <a:t> </a:t>
            </a:r>
            <a:r>
              <a:rPr lang="en-GB" sz="1900" dirty="0" err="1" smtClean="0"/>
              <a:t>termo</a:t>
            </a:r>
            <a:endParaRPr lang="en-GB" sz="1900" dirty="0" smtClean="0"/>
          </a:p>
        </p:txBody>
      </p:sp>
      <p:sp>
        <p:nvSpPr>
          <p:cNvPr id="45" name="Rechteck 44"/>
          <p:cNvSpPr/>
          <p:nvPr/>
        </p:nvSpPr>
        <p:spPr>
          <a:xfrm>
            <a:off x="5515111" y="3370988"/>
            <a:ext cx="5922612" cy="599678"/>
          </a:xfrm>
          <a:prstGeom prst="rect">
            <a:avLst/>
          </a:prstGeom>
          <a:solidFill>
            <a:schemeClr val="bg1"/>
          </a:solidFill>
          <a:ln w="38100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47" name="Textfeld 46"/>
          <p:cNvSpPr txBox="1"/>
          <p:nvPr/>
        </p:nvSpPr>
        <p:spPr>
          <a:xfrm>
            <a:off x="5554946" y="3343658"/>
            <a:ext cx="5882777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 dirty="0"/>
              <a:t>Combinação </a:t>
            </a:r>
            <a:r>
              <a:rPr lang="pt-PT" sz="2000" dirty="0" smtClean="0"/>
              <a:t>testada </a:t>
            </a:r>
            <a:r>
              <a:rPr lang="pt-PT" sz="2000" dirty="0"/>
              <a:t>de ingredientes:</a:t>
            </a:r>
            <a:br>
              <a:rPr lang="pt-PT" sz="2000" dirty="0"/>
            </a:br>
            <a:r>
              <a:rPr lang="pt-PT" sz="2000" dirty="0"/>
              <a:t>álcool, glicerina e água</a:t>
            </a:r>
            <a:endParaRPr lang="en-GB" sz="1900" dirty="0" smtClean="0"/>
          </a:p>
        </p:txBody>
      </p:sp>
      <p:grpSp>
        <p:nvGrpSpPr>
          <p:cNvPr id="52" name="Gruppieren 51"/>
          <p:cNvGrpSpPr/>
          <p:nvPr/>
        </p:nvGrpSpPr>
        <p:grpSpPr>
          <a:xfrm>
            <a:off x="4311441" y="1665921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53" name="Ellipse 52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66" name="Textfeld 65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4588530" y="2482789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69" name="Ellipse 68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  <p:grpSp>
        <p:nvGrpSpPr>
          <p:cNvPr id="71" name="Gruppieren 70"/>
          <p:cNvGrpSpPr/>
          <p:nvPr/>
        </p:nvGrpSpPr>
        <p:grpSpPr>
          <a:xfrm>
            <a:off x="4835394" y="4089928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72" name="Ellipse 71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  <p:grpSp>
        <p:nvGrpSpPr>
          <p:cNvPr id="74" name="Gruppieren 73"/>
          <p:cNvGrpSpPr/>
          <p:nvPr/>
        </p:nvGrpSpPr>
        <p:grpSpPr>
          <a:xfrm>
            <a:off x="4558339" y="4874707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75" name="Ellipse 74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4313050" y="5666440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78" name="Ellipse 77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79" name="Textfeld 78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  <p:grpSp>
        <p:nvGrpSpPr>
          <p:cNvPr id="80" name="Gruppieren 79"/>
          <p:cNvGrpSpPr/>
          <p:nvPr/>
        </p:nvGrpSpPr>
        <p:grpSpPr>
          <a:xfrm>
            <a:off x="4855311" y="3293970"/>
            <a:ext cx="699635" cy="812530"/>
            <a:chOff x="4258142" y="1943468"/>
            <a:chExt cx="699635" cy="812530"/>
          </a:xfrm>
          <a:solidFill>
            <a:srgbClr val="003366"/>
          </a:solidFill>
          <a:effectLst>
            <a:glow rad="101600">
              <a:schemeClr val="accent3">
                <a:lumMod val="40000"/>
                <a:lumOff val="60000"/>
                <a:alpha val="60000"/>
              </a:schemeClr>
            </a:glow>
          </a:effectLst>
        </p:grpSpPr>
        <p:sp>
          <p:nvSpPr>
            <p:cNvPr id="81" name="Ellipse 80"/>
            <p:cNvSpPr/>
            <p:nvPr/>
          </p:nvSpPr>
          <p:spPr>
            <a:xfrm>
              <a:off x="4258142" y="1954981"/>
              <a:ext cx="699635" cy="687867"/>
            </a:xfrm>
            <a:prstGeom prst="ellips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</a:ln>
            <a:effectLst>
              <a:glow rad="63500">
                <a:schemeClr val="bg1">
                  <a:lumMod val="50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82" name="Textfeld 81"/>
            <p:cNvSpPr txBox="1"/>
            <p:nvPr/>
          </p:nvSpPr>
          <p:spPr>
            <a:xfrm>
              <a:off x="4357434" y="1943468"/>
              <a:ext cx="539152" cy="8125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342900" indent="-342900" algn="l">
                <a:lnSpc>
                  <a:spcPct val="110000"/>
                </a:lnSpc>
                <a:buFont typeface="Wingdings" panose="05000000000000000000" pitchFamily="2" charset="2"/>
                <a:buChar char="ü"/>
              </a:pPr>
              <a:r>
                <a:rPr lang="de-DE" sz="4800" dirty="0" smtClean="0">
                  <a:solidFill>
                    <a:schemeClr val="bg1"/>
                  </a:solidFill>
                </a:rPr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1915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175" y="3176"/>
            <a:ext cx="12188824" cy="6854824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3176" y="0"/>
            <a:ext cx="12312649" cy="6858001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2" name="Rechteck 21"/>
          <p:cNvSpPr/>
          <p:nvPr/>
        </p:nvSpPr>
        <p:spPr>
          <a:xfrm>
            <a:off x="407988" y="457903"/>
            <a:ext cx="11348583" cy="60513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91" b="4714"/>
          <a:stretch/>
        </p:blipFill>
        <p:spPr>
          <a:xfrm>
            <a:off x="1558032" y="1798135"/>
            <a:ext cx="9057340" cy="4711116"/>
          </a:xfrm>
          <a:prstGeom prst="rect">
            <a:avLst/>
          </a:prstGeom>
        </p:spPr>
      </p:pic>
      <p:sp>
        <p:nvSpPr>
          <p:cNvPr id="26" name="Rechteck 25"/>
          <p:cNvSpPr/>
          <p:nvPr/>
        </p:nvSpPr>
        <p:spPr>
          <a:xfrm>
            <a:off x="1568918" y="1802134"/>
            <a:ext cx="9057340" cy="4707117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74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07988" y="457903"/>
            <a:ext cx="10518160" cy="1025922"/>
          </a:xfrm>
        </p:spPr>
        <p:txBody>
          <a:bodyPr/>
          <a:lstStyle/>
          <a:p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idado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uave e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igiene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ficaz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m</a:t>
            </a:r>
            <a:r>
              <a:rPr lang="en-GB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1 </a:t>
            </a:r>
            <a:r>
              <a:rPr lang="en-GB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to</a:t>
            </a:r>
            <a:endParaRPr lang="en-GB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Slide Number Placeholder 1"/>
          <p:cNvSpPr txBox="1">
            <a:spLocks/>
          </p:cNvSpPr>
          <p:nvPr/>
        </p:nvSpPr>
        <p:spPr>
          <a:xfrm>
            <a:off x="11465014" y="6339973"/>
            <a:ext cx="422186" cy="1692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E35F2D-46CB-4692-9D84-F12A32C0DE84}" type="slidenum">
              <a:rPr lang="de-DE" sz="1100">
                <a:solidFill>
                  <a:schemeClr val="accent1"/>
                </a:solidFill>
                <a:latin typeface="+mj-lt"/>
              </a:rPr>
              <a:pPr algn="r"/>
              <a:t>9</a:t>
            </a:fld>
            <a:endParaRPr lang="en-GB" sz="11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7368635" y="2908290"/>
            <a:ext cx="3990975" cy="202716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5" name="Kreuz 4"/>
          <p:cNvSpPr/>
          <p:nvPr/>
        </p:nvSpPr>
        <p:spPr>
          <a:xfrm>
            <a:off x="5453062" y="2143024"/>
            <a:ext cx="1362074" cy="1369346"/>
          </a:xfrm>
          <a:prstGeom prst="plus">
            <a:avLst>
              <a:gd name="adj" fmla="val 34914"/>
            </a:avLst>
          </a:prstGeom>
          <a:solidFill>
            <a:srgbClr val="003366"/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rgbClr val="003366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315689" y="1802134"/>
            <a:ext cx="3331028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sz="5000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UIDADO</a:t>
            </a:r>
          </a:p>
        </p:txBody>
      </p:sp>
      <p:sp>
        <p:nvSpPr>
          <p:cNvPr id="16" name="TextBox 11"/>
          <p:cNvSpPr txBox="1"/>
          <p:nvPr/>
        </p:nvSpPr>
        <p:spPr>
          <a:xfrm>
            <a:off x="7297197" y="5190394"/>
            <a:ext cx="41338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000" b="1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+mj-lt"/>
              </a:rPr>
              <a:t>PROTEÇÃO </a:t>
            </a:r>
            <a:r>
              <a:rPr lang="pt-PT" sz="2000" b="1" dirty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+mj-lt"/>
              </a:rPr>
              <a:t>INTEGRAL IMEDIATA CONTRA </a:t>
            </a:r>
            <a:r>
              <a:rPr lang="pt-PT" sz="2000" b="1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+mj-lt"/>
              </a:rPr>
              <a:t>GERMES</a:t>
            </a:r>
            <a:r>
              <a:rPr lang="pt-PT" sz="2000" b="1" dirty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+mj-lt"/>
              </a:rPr>
              <a:t>.</a:t>
            </a:r>
            <a:endParaRPr lang="en-GB" sz="2000" b="1" dirty="0">
              <a:solidFill>
                <a:srgbClr val="003366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17" name="TextBox 12"/>
          <p:cNvSpPr txBox="1"/>
          <p:nvPr/>
        </p:nvSpPr>
        <p:spPr>
          <a:xfrm>
            <a:off x="679034" y="5190394"/>
            <a:ext cx="4109286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900" b="1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  <a:latin typeface="+mj-lt"/>
              </a:rPr>
              <a:t>HIGIENE E SUAVIDADE PARA AS MÃOS – SEM SENSAÇÃO DE COLAR.</a:t>
            </a:r>
            <a:endParaRPr lang="en-GB" sz="1900" b="1" dirty="0">
              <a:solidFill>
                <a:srgbClr val="003366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  <a:latin typeface="+mj-lt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24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6736934" y="1798135"/>
            <a:ext cx="3257548" cy="803746"/>
          </a:xfrm>
          <a:prstGeom prst="rect">
            <a:avLst/>
          </a:prstGeom>
          <a:noFill/>
          <a:effectLst>
            <a:glow rad="139700">
              <a:schemeClr val="accent3">
                <a:lumMod val="60000"/>
                <a:lumOff val="40000"/>
                <a:alpha val="40000"/>
              </a:schemeClr>
            </a:glow>
          </a:effectLst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sz="5000" dirty="0" smtClean="0">
                <a:solidFill>
                  <a:srgbClr val="003366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HIGIENE</a:t>
            </a:r>
          </a:p>
        </p:txBody>
      </p:sp>
      <p:sp>
        <p:nvSpPr>
          <p:cNvPr id="8" name="TextBox 11"/>
          <p:cNvSpPr txBox="1"/>
          <p:nvPr/>
        </p:nvSpPr>
        <p:spPr>
          <a:xfrm>
            <a:off x="7368635" y="3010417"/>
            <a:ext cx="39909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PT" dirty="0"/>
              <a:t>rapidamente livra a pele dos </a:t>
            </a:r>
            <a:r>
              <a:rPr lang="pt-PT" dirty="0" smtClean="0"/>
              <a:t>germes</a:t>
            </a:r>
          </a:p>
          <a:p>
            <a:pPr marL="285750" indent="-285750">
              <a:buFontTx/>
              <a:buChar char="-"/>
            </a:pPr>
            <a:r>
              <a:rPr lang="pt-PT" dirty="0" smtClean="0"/>
              <a:t>película </a:t>
            </a:r>
            <a:r>
              <a:rPr lang="pt-PT" dirty="0" err="1"/>
              <a:t>protetora</a:t>
            </a:r>
            <a:r>
              <a:rPr lang="pt-PT" dirty="0"/>
              <a:t> </a:t>
            </a:r>
            <a:r>
              <a:rPr lang="pt-PT" dirty="0" smtClean="0"/>
              <a:t>duradoura</a:t>
            </a:r>
          </a:p>
          <a:p>
            <a:pPr marL="285750" indent="-285750">
              <a:buFontTx/>
              <a:buChar char="-"/>
            </a:pPr>
            <a:r>
              <a:rPr lang="pt-PT" dirty="0"/>
              <a:t>H</a:t>
            </a:r>
            <a:r>
              <a:rPr lang="pt-PT" dirty="0" smtClean="0"/>
              <a:t>igiene </a:t>
            </a:r>
            <a:r>
              <a:rPr lang="pt-PT" dirty="0"/>
              <a:t>e limpeza a longo </a:t>
            </a:r>
            <a:r>
              <a:rPr lang="pt-PT" dirty="0" smtClean="0"/>
              <a:t>prazo</a:t>
            </a:r>
          </a:p>
          <a:p>
            <a:pPr marL="285750" indent="-285750">
              <a:buFontTx/>
              <a:buChar char="-"/>
            </a:pPr>
            <a:r>
              <a:rPr lang="pt-PT" dirty="0" smtClean="0"/>
              <a:t>aplicável </a:t>
            </a:r>
            <a:r>
              <a:rPr lang="pt-PT" dirty="0"/>
              <a:t>sem água </a:t>
            </a:r>
            <a:r>
              <a:rPr lang="pt-PT" dirty="0" smtClean="0"/>
              <a:t>– pode levar sempre consigo</a:t>
            </a:r>
            <a:endParaRPr lang="en-GB" b="1" dirty="0" smtClean="0"/>
          </a:p>
        </p:txBody>
      </p:sp>
      <p:sp>
        <p:nvSpPr>
          <p:cNvPr id="27" name="Rechteck 26"/>
          <p:cNvSpPr/>
          <p:nvPr/>
        </p:nvSpPr>
        <p:spPr>
          <a:xfrm>
            <a:off x="745704" y="2901945"/>
            <a:ext cx="3990975" cy="202716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8575">
            <a:solidFill>
              <a:srgbClr val="00336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0" name="TextBox 12"/>
          <p:cNvSpPr txBox="1"/>
          <p:nvPr/>
        </p:nvSpPr>
        <p:spPr>
          <a:xfrm>
            <a:off x="745704" y="3300103"/>
            <a:ext cx="37786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GB" b="1" dirty="0" err="1" smtClean="0"/>
              <a:t>Limpa</a:t>
            </a:r>
            <a:r>
              <a:rPr lang="en-GB" b="1" dirty="0" smtClean="0"/>
              <a:t> a </a:t>
            </a:r>
            <a:r>
              <a:rPr lang="en-GB" b="1" dirty="0" err="1" smtClean="0"/>
              <a:t>pele</a:t>
            </a:r>
            <a:r>
              <a:rPr lang="en-GB" b="1" dirty="0" smtClean="0"/>
              <a:t> </a:t>
            </a:r>
            <a:r>
              <a:rPr lang="en-GB" b="1" dirty="0" err="1" smtClean="0"/>
              <a:t>sem</a:t>
            </a:r>
            <a:r>
              <a:rPr lang="en-GB" b="1" dirty="0" smtClean="0"/>
              <a:t> </a:t>
            </a:r>
            <a:r>
              <a:rPr lang="en-GB" b="1" dirty="0" err="1" smtClean="0"/>
              <a:t>secar</a:t>
            </a:r>
            <a:endParaRPr lang="en-GB" b="1" dirty="0" smtClean="0"/>
          </a:p>
          <a:p>
            <a:pPr marL="285750" indent="-285750">
              <a:buFontTx/>
              <a:buChar char="-"/>
            </a:pPr>
            <a:r>
              <a:rPr lang="en-GB" b="1" dirty="0" err="1" smtClean="0"/>
              <a:t>Efeito</a:t>
            </a:r>
            <a:r>
              <a:rPr lang="en-GB" b="1" dirty="0" smtClean="0"/>
              <a:t> </a:t>
            </a:r>
            <a:r>
              <a:rPr lang="en-GB" b="1" dirty="0" err="1" smtClean="0"/>
              <a:t>hidratante</a:t>
            </a:r>
            <a:r>
              <a:rPr lang="en-GB" b="1" dirty="0" smtClean="0"/>
              <a:t> a </a:t>
            </a:r>
            <a:r>
              <a:rPr lang="en-GB" b="1" dirty="0" err="1" smtClean="0"/>
              <a:t>longo</a:t>
            </a:r>
            <a:r>
              <a:rPr lang="en-GB" b="1" dirty="0" smtClean="0"/>
              <a:t> </a:t>
            </a:r>
            <a:r>
              <a:rPr lang="en-GB" b="1" dirty="0" err="1" smtClean="0"/>
              <a:t>prazo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5583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whTtUQU64ReD1XKsh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whTtUQU64ReD1XKsh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YXUx5SiGkiMcaGQQ8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9Jx9ghSWSxmo.yNj_x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B6VSFQX.irGhbHDly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B6VSFQX.irGhbHDly6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khaNTGR_m..nw34Ig8o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v2u7WSTEe2zCWJeBsaOA"/>
</p:tagLst>
</file>

<file path=ppt/theme/theme1.xml><?xml version="1.0" encoding="utf-8"?>
<a:theme xmlns:a="http://schemas.openxmlformats.org/drawingml/2006/main" name="LR-Master-Powerpoint-Slides-16zu9-DE">
  <a:themeElements>
    <a:clrScheme name="LR 2019">
      <a:dk1>
        <a:sysClr val="windowText" lastClr="000000"/>
      </a:dk1>
      <a:lt1>
        <a:sysClr val="window" lastClr="FFFFFF"/>
      </a:lt1>
      <a:dk2>
        <a:srgbClr val="B2B5B7"/>
      </a:dk2>
      <a:lt2>
        <a:srgbClr val="00B428"/>
      </a:lt2>
      <a:accent1>
        <a:srgbClr val="93B792"/>
      </a:accent1>
      <a:accent2>
        <a:srgbClr val="99CC9A"/>
      </a:accent2>
      <a:accent3>
        <a:srgbClr val="A0C8C7"/>
      </a:accent3>
      <a:accent4>
        <a:srgbClr val="FFD500"/>
      </a:accent4>
      <a:accent5>
        <a:srgbClr val="E60078"/>
      </a:accent5>
      <a:accent6>
        <a:srgbClr val="00A0E6"/>
      </a:accent6>
      <a:hlink>
        <a:srgbClr val="93B792"/>
      </a:hlink>
      <a:folHlink>
        <a:srgbClr val="B2B5B7"/>
      </a:folHlink>
    </a:clrScheme>
    <a:fontScheme name="LR 2019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110000"/>
          </a:lnSpc>
          <a:defRPr sz="23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defRPr sz="23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</TotalTime>
  <Words>462</Words>
  <Application>Microsoft Office PowerPoint</Application>
  <PresentationFormat>Custom</PresentationFormat>
  <Paragraphs>117</Paragraphs>
  <Slides>15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LR-Master-Powerpoint-Slides-16zu9-DE</vt:lpstr>
      <vt:lpstr>think-cell Folie</vt:lpstr>
      <vt:lpstr>LR PROTECTION  </vt:lpstr>
      <vt:lpstr>PowerPoint Presentation</vt:lpstr>
      <vt:lpstr>PowerPoint Presentation</vt:lpstr>
      <vt:lpstr>PowerPoint Presentation</vt:lpstr>
      <vt:lpstr>PowerPoint Presentation</vt:lpstr>
      <vt:lpstr>A LR TEM A SOLUÇÃO</vt:lpstr>
      <vt:lpstr>O NOVO LR PROTECTION SPRAY DE MÃOS HIDROALCOÓLICO</vt:lpstr>
      <vt:lpstr>Produto de higiene  com excelente tolerabilidade</vt:lpstr>
      <vt:lpstr>Cuidado suave e higiene eficaz em 1 produto</vt:lpstr>
      <vt:lpstr>A higiene adequada das mãos é importante</vt:lpstr>
      <vt:lpstr>Proteção dupla contra os germes</vt:lpstr>
      <vt:lpstr>O NOVO LR PROTECTION SPRAY DE MÃOS HIDROALCOÓLICO</vt:lpstr>
      <vt:lpstr>Proteja-se a si e àqueles que o/a rodeiam</vt:lpstr>
      <vt:lpstr>Material disponível para divulgação </vt:lpstr>
      <vt:lpstr>PowerPoint Presentation</vt:lpstr>
    </vt:vector>
  </TitlesOfParts>
  <Company>LR Health &amp; Beauty Systems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GHT MASTER wettbewerbsabgrenzung</dc:title>
  <dc:creator>Lutterbeck, Birte</dc:creator>
  <cp:lastModifiedBy>Teixeira, Ana</cp:lastModifiedBy>
  <cp:revision>794</cp:revision>
  <cp:lastPrinted>2020-02-05T07:44:45Z</cp:lastPrinted>
  <dcterms:created xsi:type="dcterms:W3CDTF">2019-08-22T07:20:32Z</dcterms:created>
  <dcterms:modified xsi:type="dcterms:W3CDTF">2020-04-02T19:02:13Z</dcterms:modified>
</cp:coreProperties>
</file>